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5"/>
    <p:sldMasterId id="2147483751" r:id="rId6"/>
    <p:sldMasterId id="2147483768" r:id="rId7"/>
  </p:sldMasterIdLst>
  <p:notesMasterIdLst>
    <p:notesMasterId r:id="rId11"/>
  </p:notesMasterIdLst>
  <p:sldIdLst>
    <p:sldId id="2147469931" r:id="rId8"/>
    <p:sldId id="2147469932" r:id="rId9"/>
    <p:sldId id="2147469933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FA835D-FC18-AA5F-F012-8CD177B74541}" name="Brianna Lien" initials="BL" userId="S::brianna.lien@bayer.com::f3b5815a-0702-414c-9464-ffb25822869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0F0F7A-9401-4501-84AD-54FB16C8AC19}" v="1" dt="2025-10-23T11:31:28.9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9" autoAdjust="0"/>
    <p:restoredTop sz="87037" autoAdjust="0"/>
  </p:normalViewPr>
  <p:slideViewPr>
    <p:cSldViewPr snapToGrid="0">
      <p:cViewPr varScale="1">
        <p:scale>
          <a:sx n="96" d="100"/>
          <a:sy n="96" d="100"/>
        </p:scale>
        <p:origin x="109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anna Lien" userId="f3b5815a-0702-414c-9464-ffb25822869a" providerId="ADAL" clId="{ECDAFB57-FA01-4433-90EE-F6EDE71CD488}"/>
    <pc:docChg chg="custSel delSld modSld delMainMaster">
      <pc:chgData name="Brianna Lien" userId="f3b5815a-0702-414c-9464-ffb25822869a" providerId="ADAL" clId="{ECDAFB57-FA01-4433-90EE-F6EDE71CD488}" dt="2024-06-05T14:14:38.247" v="133" actId="14100"/>
      <pc:docMkLst>
        <pc:docMk/>
      </pc:docMkLst>
      <pc:sldChg chg="addSp delSp modSp mod">
        <pc:chgData name="Brianna Lien" userId="f3b5815a-0702-414c-9464-ffb25822869a" providerId="ADAL" clId="{ECDAFB57-FA01-4433-90EE-F6EDE71CD488}" dt="2024-06-05T14:14:38.247" v="133" actId="14100"/>
        <pc:sldMkLst>
          <pc:docMk/>
          <pc:sldMk cId="2652259109" sldId="277"/>
        </pc:sldMkLst>
      </pc:sldChg>
      <pc:sldChg chg="del">
        <pc:chgData name="Brianna Lien" userId="f3b5815a-0702-414c-9464-ffb25822869a" providerId="ADAL" clId="{ECDAFB57-FA01-4433-90EE-F6EDE71CD488}" dt="2024-06-05T13:58:26.825" v="11" actId="47"/>
        <pc:sldMkLst>
          <pc:docMk/>
          <pc:sldMk cId="96322911" sldId="301"/>
        </pc:sldMkLst>
      </pc:sldChg>
      <pc:sldChg chg="del">
        <pc:chgData name="Brianna Lien" userId="f3b5815a-0702-414c-9464-ffb25822869a" providerId="ADAL" clId="{ECDAFB57-FA01-4433-90EE-F6EDE71CD488}" dt="2024-06-05T13:57:41.946" v="0" actId="47"/>
        <pc:sldMkLst>
          <pc:docMk/>
          <pc:sldMk cId="2477321240" sldId="302"/>
        </pc:sldMkLst>
      </pc:sldChg>
      <pc:sldChg chg="del">
        <pc:chgData name="Brianna Lien" userId="f3b5815a-0702-414c-9464-ffb25822869a" providerId="ADAL" clId="{ECDAFB57-FA01-4433-90EE-F6EDE71CD488}" dt="2024-06-05T13:58:23.526" v="9" actId="47"/>
        <pc:sldMkLst>
          <pc:docMk/>
          <pc:sldMk cId="1763847388" sldId="909"/>
        </pc:sldMkLst>
      </pc:sldChg>
      <pc:sldChg chg="del">
        <pc:chgData name="Brianna Lien" userId="f3b5815a-0702-414c-9464-ffb25822869a" providerId="ADAL" clId="{ECDAFB57-FA01-4433-90EE-F6EDE71CD488}" dt="2024-06-05T13:58:11.400" v="2" actId="47"/>
        <pc:sldMkLst>
          <pc:docMk/>
          <pc:sldMk cId="2551951913" sldId="911"/>
        </pc:sldMkLst>
      </pc:sldChg>
      <pc:sldChg chg="del">
        <pc:chgData name="Brianna Lien" userId="f3b5815a-0702-414c-9464-ffb25822869a" providerId="ADAL" clId="{ECDAFB57-FA01-4433-90EE-F6EDE71CD488}" dt="2024-06-05T13:58:12.811" v="4" actId="47"/>
        <pc:sldMkLst>
          <pc:docMk/>
          <pc:sldMk cId="4066212355" sldId="2147375221"/>
        </pc:sldMkLst>
      </pc:sldChg>
      <pc:sldChg chg="del">
        <pc:chgData name="Brianna Lien" userId="f3b5815a-0702-414c-9464-ffb25822869a" providerId="ADAL" clId="{ECDAFB57-FA01-4433-90EE-F6EDE71CD488}" dt="2024-06-05T13:58:13.991" v="6" actId="47"/>
        <pc:sldMkLst>
          <pc:docMk/>
          <pc:sldMk cId="363803934" sldId="2147469893"/>
        </pc:sldMkLst>
      </pc:sldChg>
      <pc:sldChg chg="del">
        <pc:chgData name="Brianna Lien" userId="f3b5815a-0702-414c-9464-ffb25822869a" providerId="ADAL" clId="{ECDAFB57-FA01-4433-90EE-F6EDE71CD488}" dt="2024-06-05T13:58:19.968" v="8" actId="47"/>
        <pc:sldMkLst>
          <pc:docMk/>
          <pc:sldMk cId="550996224" sldId="2147469922"/>
        </pc:sldMkLst>
      </pc:sldChg>
      <pc:sldChg chg="del">
        <pc:chgData name="Brianna Lien" userId="f3b5815a-0702-414c-9464-ffb25822869a" providerId="ADAL" clId="{ECDAFB57-FA01-4433-90EE-F6EDE71CD488}" dt="2024-06-05T13:58:10.581" v="1" actId="47"/>
        <pc:sldMkLst>
          <pc:docMk/>
          <pc:sldMk cId="2927679592" sldId="2147469924"/>
        </pc:sldMkLst>
      </pc:sldChg>
      <pc:sldChg chg="del">
        <pc:chgData name="Brianna Lien" userId="f3b5815a-0702-414c-9464-ffb25822869a" providerId="ADAL" clId="{ECDAFB57-FA01-4433-90EE-F6EDE71CD488}" dt="2024-06-05T14:10:03.516" v="126" actId="47"/>
        <pc:sldMkLst>
          <pc:docMk/>
          <pc:sldMk cId="3840920783" sldId="2147469925"/>
        </pc:sldMkLst>
      </pc:sldChg>
      <pc:sldChg chg="del">
        <pc:chgData name="Brianna Lien" userId="f3b5815a-0702-414c-9464-ffb25822869a" providerId="ADAL" clId="{ECDAFB57-FA01-4433-90EE-F6EDE71CD488}" dt="2024-06-05T13:58:13.417" v="5" actId="47"/>
        <pc:sldMkLst>
          <pc:docMk/>
          <pc:sldMk cId="3200755068" sldId="2147469927"/>
        </pc:sldMkLst>
      </pc:sldChg>
      <pc:sldChg chg="del">
        <pc:chgData name="Brianna Lien" userId="f3b5815a-0702-414c-9464-ffb25822869a" providerId="ADAL" clId="{ECDAFB57-FA01-4433-90EE-F6EDE71CD488}" dt="2024-06-05T13:58:12.088" v="3" actId="47"/>
        <pc:sldMkLst>
          <pc:docMk/>
          <pc:sldMk cId="2698767485" sldId="2147469928"/>
        </pc:sldMkLst>
      </pc:sldChg>
      <pc:sldChg chg="modSp mod">
        <pc:chgData name="Brianna Lien" userId="f3b5815a-0702-414c-9464-ffb25822869a" providerId="ADAL" clId="{ECDAFB57-FA01-4433-90EE-F6EDE71CD488}" dt="2024-06-05T14:06:10.977" v="73" actId="20577"/>
        <pc:sldMkLst>
          <pc:docMk/>
          <pc:sldMk cId="36038396" sldId="2147469930"/>
        </pc:sldMkLst>
      </pc:sldChg>
      <pc:sldChg chg="del">
        <pc:chgData name="Brianna Lien" userId="f3b5815a-0702-414c-9464-ffb25822869a" providerId="ADAL" clId="{ECDAFB57-FA01-4433-90EE-F6EDE71CD488}" dt="2024-06-05T13:58:25.380" v="10" actId="47"/>
        <pc:sldMkLst>
          <pc:docMk/>
          <pc:sldMk cId="2475446499" sldId="2147469931"/>
        </pc:sldMkLst>
      </pc:sldChg>
      <pc:sldChg chg="del">
        <pc:chgData name="Brianna Lien" userId="f3b5815a-0702-414c-9464-ffb25822869a" providerId="ADAL" clId="{ECDAFB57-FA01-4433-90EE-F6EDE71CD488}" dt="2024-06-05T13:58:14.630" v="7" actId="47"/>
        <pc:sldMkLst>
          <pc:docMk/>
          <pc:sldMk cId="3491936847" sldId="2147469932"/>
        </pc:sldMkLst>
      </pc:sldChg>
      <pc:sldChg chg="modSp del mod">
        <pc:chgData name="Brianna Lien" userId="f3b5815a-0702-414c-9464-ffb25822869a" providerId="ADAL" clId="{ECDAFB57-FA01-4433-90EE-F6EDE71CD488}" dt="2024-06-05T14:05:41.036" v="69" actId="47"/>
        <pc:sldMkLst>
          <pc:docMk/>
          <pc:sldMk cId="1704104141" sldId="2147469933"/>
        </pc:sldMkLst>
      </pc:sldChg>
      <pc:sldMasterChg chg="del delSldLayout">
        <pc:chgData name="Brianna Lien" userId="f3b5815a-0702-414c-9464-ffb25822869a" providerId="ADAL" clId="{ECDAFB57-FA01-4433-90EE-F6EDE71CD488}" dt="2024-06-05T13:58:10.581" v="1" actId="47"/>
        <pc:sldMasterMkLst>
          <pc:docMk/>
          <pc:sldMasterMk cId="3277864969" sldId="2147483660"/>
        </pc:sldMasterMkLst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941736032" sldId="2147483661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584056026" sldId="2147483662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940023540" sldId="2147483663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397683394" sldId="2147483664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184957571" sldId="2147483665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03376479" sldId="2147483666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276433921" sldId="2147483667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328037591" sldId="2147483668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490169565" sldId="2147483669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744275830" sldId="2147483670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741184460" sldId="2147483671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898656371" sldId="2147483672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769529659" sldId="2147483673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23968041" sldId="2147483674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736039943" sldId="2147483675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1592306716" sldId="2147483677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3637483254" sldId="2147483678"/>
          </pc:sldLayoutMkLst>
        </pc:sldLayoutChg>
        <pc:sldLayoutChg chg="del">
          <pc:chgData name="Brianna Lien" userId="f3b5815a-0702-414c-9464-ffb25822869a" providerId="ADAL" clId="{ECDAFB57-FA01-4433-90EE-F6EDE71CD488}" dt="2024-06-05T13:58:10.581" v="1" actId="47"/>
          <pc:sldLayoutMkLst>
            <pc:docMk/>
            <pc:sldMasterMk cId="3277864969" sldId="2147483660"/>
            <pc:sldLayoutMk cId="2094220978" sldId="2147483719"/>
          </pc:sldLayoutMkLst>
        </pc:sldLayoutChg>
      </pc:sldMasterChg>
      <pc:sldMasterChg chg="delSldLayout">
        <pc:chgData name="Brianna Lien" userId="f3b5815a-0702-414c-9464-ffb25822869a" providerId="ADAL" clId="{ECDAFB57-FA01-4433-90EE-F6EDE71CD488}" dt="2024-06-05T13:58:25.380" v="10" actId="47"/>
        <pc:sldMasterMkLst>
          <pc:docMk/>
          <pc:sldMasterMk cId="1901923768" sldId="2147483751"/>
        </pc:sldMasterMkLst>
        <pc:sldLayoutChg chg="del">
          <pc:chgData name="Brianna Lien" userId="f3b5815a-0702-414c-9464-ffb25822869a" providerId="ADAL" clId="{ECDAFB57-FA01-4433-90EE-F6EDE71CD488}" dt="2024-06-05T13:58:25.380" v="10" actId="47"/>
          <pc:sldLayoutMkLst>
            <pc:docMk/>
            <pc:sldMasterMk cId="1901923768" sldId="2147483751"/>
            <pc:sldLayoutMk cId="713464161" sldId="2147483780"/>
          </pc:sldLayoutMkLst>
        </pc:sldLayoutChg>
      </pc:sldMasterChg>
    </pc:docChg>
  </pc:docChgLst>
  <pc:docChgLst>
    <pc:chgData name="Brianna Lien" userId="f3b5815a-0702-414c-9464-ffb25822869a" providerId="ADAL" clId="{E766F019-8490-4E26-84E2-621B5357DDEE}"/>
    <pc:docChg chg="undo custSel addSld delSld modSld sldOrd delMainMaster">
      <pc:chgData name="Brianna Lien" userId="f3b5815a-0702-414c-9464-ffb25822869a" providerId="ADAL" clId="{E766F019-8490-4E26-84E2-621B5357DDEE}" dt="2024-05-28T14:37:02.257" v="5790"/>
      <pc:docMkLst>
        <pc:docMk/>
      </pc:docMkLst>
      <pc:sldChg chg="modSp mod">
        <pc:chgData name="Brianna Lien" userId="f3b5815a-0702-414c-9464-ffb25822869a" providerId="ADAL" clId="{E766F019-8490-4E26-84E2-621B5357DDEE}" dt="2024-05-07T09:26:04.324" v="5715" actId="20577"/>
        <pc:sldMkLst>
          <pc:docMk/>
          <pc:sldMk cId="3143414294" sldId="258"/>
        </pc:sldMkLst>
      </pc:sldChg>
      <pc:sldChg chg="addSp delSp modSp del mod modClrScheme chgLayout">
        <pc:chgData name="Brianna Lien" userId="f3b5815a-0702-414c-9464-ffb25822869a" providerId="ADAL" clId="{E766F019-8490-4E26-84E2-621B5357DDEE}" dt="2024-05-07T07:20:27.587" v="3554" actId="47"/>
        <pc:sldMkLst>
          <pc:docMk/>
          <pc:sldMk cId="983440853" sldId="259"/>
        </pc:sldMkLst>
      </pc:sldChg>
      <pc:sldChg chg="del">
        <pc:chgData name="Brianna Lien" userId="f3b5815a-0702-414c-9464-ffb25822869a" providerId="ADAL" clId="{E766F019-8490-4E26-84E2-621B5357DDEE}" dt="2024-05-06T16:15:44.326" v="3366" actId="47"/>
        <pc:sldMkLst>
          <pc:docMk/>
          <pc:sldMk cId="1533286221" sldId="276"/>
        </pc:sldMkLst>
      </pc:sldChg>
      <pc:sldChg chg="addSp delSp modSp add mod">
        <pc:chgData name="Brianna Lien" userId="f3b5815a-0702-414c-9464-ffb25822869a" providerId="ADAL" clId="{E766F019-8490-4E26-84E2-621B5357DDEE}" dt="2024-05-03T15:59:23.943" v="2435" actId="20577"/>
        <pc:sldMkLst>
          <pc:docMk/>
          <pc:sldMk cId="2652259109" sldId="277"/>
        </pc:sldMkLst>
      </pc:sldChg>
      <pc:sldChg chg="delSp modSp mod modNotesTx">
        <pc:chgData name="Brianna Lien" userId="f3b5815a-0702-414c-9464-ffb25822869a" providerId="ADAL" clId="{E766F019-8490-4E26-84E2-621B5357DDEE}" dt="2024-05-07T08:57:16.305" v="4943" actId="947"/>
        <pc:sldMkLst>
          <pc:docMk/>
          <pc:sldMk cId="96322911" sldId="301"/>
        </pc:sldMkLst>
      </pc:sldChg>
      <pc:sldChg chg="delSp modSp add del mod">
        <pc:chgData name="Brianna Lien" userId="f3b5815a-0702-414c-9464-ffb25822869a" providerId="ADAL" clId="{E766F019-8490-4E26-84E2-621B5357DDEE}" dt="2024-05-07T09:04:16.498" v="4944" actId="478"/>
        <pc:sldMkLst>
          <pc:docMk/>
          <pc:sldMk cId="2477321240" sldId="302"/>
        </pc:sldMkLst>
      </pc:sldChg>
      <pc:sldChg chg="addSp delSp modSp mod modClrScheme chgLayout modNotesTx">
        <pc:chgData name="Brianna Lien" userId="f3b5815a-0702-414c-9464-ffb25822869a" providerId="ADAL" clId="{E766F019-8490-4E26-84E2-621B5357DDEE}" dt="2024-05-07T08:41:17.695" v="4803" actId="1038"/>
        <pc:sldMkLst>
          <pc:docMk/>
          <pc:sldMk cId="1763847388" sldId="909"/>
        </pc:sldMkLst>
      </pc:sldChg>
      <pc:sldChg chg="addSp delSp modSp mod modClrScheme delCm chgLayout modNotesTx">
        <pc:chgData name="Brianna Lien" userId="f3b5815a-0702-414c-9464-ffb25822869a" providerId="ADAL" clId="{E766F019-8490-4E26-84E2-621B5357DDEE}" dt="2024-05-03T16:08:01.242" v="2580" actId="1038"/>
        <pc:sldMkLst>
          <pc:docMk/>
          <pc:sldMk cId="2551951913" sldId="9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rianna Lien" userId="f3b5815a-0702-414c-9464-ffb25822869a" providerId="ADAL" clId="{E766F019-8490-4E26-84E2-621B5357DDEE}" dt="2024-05-02T14:31:00.450" v="1246"/>
              <pc2:cmMkLst xmlns:pc2="http://schemas.microsoft.com/office/powerpoint/2019/9/main/command">
                <pc:docMk/>
                <pc:sldMk cId="2551951913" sldId="911"/>
                <pc2:cmMk id="{933D4E3B-AABE-4F05-8486-557598503C82}"/>
              </pc2:cmMkLst>
            </pc226:cmChg>
          </p:ext>
        </pc:extLst>
      </pc:sldChg>
      <pc:sldChg chg="addSp delSp modSp mod modClrScheme chgLayout modNotesTx">
        <pc:chgData name="Brianna Lien" userId="f3b5815a-0702-414c-9464-ffb25822869a" providerId="ADAL" clId="{E766F019-8490-4E26-84E2-621B5357DDEE}" dt="2024-05-06T16:01:07.369" v="3323" actId="947"/>
        <pc:sldMkLst>
          <pc:docMk/>
          <pc:sldMk cId="4066212355" sldId="2147375221"/>
        </pc:sldMkLst>
      </pc:sldChg>
      <pc:sldChg chg="addSp delSp modSp add mod modClrScheme chgLayout">
        <pc:chgData name="Brianna Lien" userId="f3b5815a-0702-414c-9464-ffb25822869a" providerId="ADAL" clId="{E766F019-8490-4E26-84E2-621B5357DDEE}" dt="2024-05-07T09:37:41.384" v="5742" actId="1076"/>
        <pc:sldMkLst>
          <pc:docMk/>
          <pc:sldMk cId="363803934" sldId="2147469893"/>
        </pc:sldMkLst>
      </pc:sldChg>
      <pc:sldChg chg="delSp modSp del mod">
        <pc:chgData name="Brianna Lien" userId="f3b5815a-0702-414c-9464-ffb25822869a" providerId="ADAL" clId="{E766F019-8490-4E26-84E2-621B5357DDEE}" dt="2024-05-03T16:03:24.082" v="2516" actId="2696"/>
        <pc:sldMkLst>
          <pc:docMk/>
          <pc:sldMk cId="515246607" sldId="2147469917"/>
        </pc:sldMkLst>
      </pc:sldChg>
      <pc:sldChg chg="del">
        <pc:chgData name="Brianna Lien" userId="f3b5815a-0702-414c-9464-ffb25822869a" providerId="ADAL" clId="{E766F019-8490-4E26-84E2-621B5357DDEE}" dt="2024-05-03T15:36:53.794" v="1963" actId="47"/>
        <pc:sldMkLst>
          <pc:docMk/>
          <pc:sldMk cId="2348600632" sldId="2147469920"/>
        </pc:sldMkLst>
      </pc:sldChg>
      <pc:sldChg chg="modSp del mod">
        <pc:chgData name="Brianna Lien" userId="f3b5815a-0702-414c-9464-ffb25822869a" providerId="ADAL" clId="{E766F019-8490-4E26-84E2-621B5357DDEE}" dt="2024-05-07T08:35:31.684" v="4783" actId="47"/>
        <pc:sldMkLst>
          <pc:docMk/>
          <pc:sldMk cId="4169332890" sldId="2147469921"/>
        </pc:sldMkLst>
      </pc:sldChg>
      <pc:sldChg chg="addSp delSp modSp mod modClrScheme chgLayout modNotesTx">
        <pc:chgData name="Brianna Lien" userId="f3b5815a-0702-414c-9464-ffb25822869a" providerId="ADAL" clId="{E766F019-8490-4E26-84E2-621B5357DDEE}" dt="2024-05-07T09:08:14.215" v="5087" actId="14100"/>
        <pc:sldMkLst>
          <pc:docMk/>
          <pc:sldMk cId="550996224" sldId="2147469922"/>
        </pc:sldMkLst>
      </pc:sldChg>
      <pc:sldChg chg="modSp mod modNotesTx">
        <pc:chgData name="Brianna Lien" userId="f3b5815a-0702-414c-9464-ffb25822869a" providerId="ADAL" clId="{E766F019-8490-4E26-84E2-621B5357DDEE}" dt="2024-05-02T14:17:03.512" v="1204" actId="14100"/>
        <pc:sldMkLst>
          <pc:docMk/>
          <pc:sldMk cId="2927679592" sldId="2147469924"/>
        </pc:sldMkLst>
      </pc:sldChg>
      <pc:sldChg chg="delSp add mod">
        <pc:chgData name="Brianna Lien" userId="f3b5815a-0702-414c-9464-ffb25822869a" providerId="ADAL" clId="{E766F019-8490-4E26-84E2-621B5357DDEE}" dt="2024-05-02T14:40:24.601" v="1287" actId="478"/>
        <pc:sldMkLst>
          <pc:docMk/>
          <pc:sldMk cId="3840920783" sldId="2147469925"/>
        </pc:sldMkLst>
      </pc:sldChg>
      <pc:sldChg chg="new del">
        <pc:chgData name="Brianna Lien" userId="f3b5815a-0702-414c-9464-ffb25822869a" providerId="ADAL" clId="{E766F019-8490-4E26-84E2-621B5357DDEE}" dt="2024-05-02T14:45:20.808" v="1322" actId="47"/>
        <pc:sldMkLst>
          <pc:docMk/>
          <pc:sldMk cId="2883221895" sldId="2147469926"/>
        </pc:sldMkLst>
      </pc:sldChg>
      <pc:sldChg chg="modSp new del mod">
        <pc:chgData name="Brianna Lien" userId="f3b5815a-0702-414c-9464-ffb25822869a" providerId="ADAL" clId="{E766F019-8490-4E26-84E2-621B5357DDEE}" dt="2024-05-02T14:48:12.090" v="1326" actId="47"/>
        <pc:sldMkLst>
          <pc:docMk/>
          <pc:sldMk cId="3162955663" sldId="2147469926"/>
        </pc:sldMkLst>
      </pc:sldChg>
      <pc:sldChg chg="addSp delSp modSp add mod ord modClrScheme chgLayout">
        <pc:chgData name="Brianna Lien" userId="f3b5815a-0702-414c-9464-ffb25822869a" providerId="ADAL" clId="{E766F019-8490-4E26-84E2-621B5357DDEE}" dt="2024-05-07T08:23:50.209" v="4517" actId="207"/>
        <pc:sldMkLst>
          <pc:docMk/>
          <pc:sldMk cId="3200755068" sldId="2147469927"/>
        </pc:sldMkLst>
      </pc:sldChg>
      <pc:sldChg chg="addSp delSp modSp add mod modClrScheme chgLayout">
        <pc:chgData name="Brianna Lien" userId="f3b5815a-0702-414c-9464-ffb25822869a" providerId="ADAL" clId="{E766F019-8490-4E26-84E2-621B5357DDEE}" dt="2024-05-14T09:55:19.808" v="5789" actId="478"/>
        <pc:sldMkLst>
          <pc:docMk/>
          <pc:sldMk cId="2698767485" sldId="2147469928"/>
        </pc:sldMkLst>
      </pc:sldChg>
      <pc:sldChg chg="addSp delSp modSp add mod modClrScheme chgLayout modNotesTx">
        <pc:chgData name="Brianna Lien" userId="f3b5815a-0702-414c-9464-ffb25822869a" providerId="ADAL" clId="{E766F019-8490-4E26-84E2-621B5357DDEE}" dt="2024-05-06T15:49:56.914" v="3299" actId="20577"/>
        <pc:sldMkLst>
          <pc:docMk/>
          <pc:sldMk cId="3465896249" sldId="2147469929"/>
        </pc:sldMkLst>
      </pc:sldChg>
      <pc:sldChg chg="addSp delSp modSp add mod addCm modNotesTx">
        <pc:chgData name="Brianna Lien" userId="f3b5815a-0702-414c-9464-ffb25822869a" providerId="ADAL" clId="{E766F019-8490-4E26-84E2-621B5357DDEE}" dt="2024-05-28T14:37:02.257" v="5790"/>
        <pc:sldMkLst>
          <pc:docMk/>
          <pc:sldMk cId="36038396" sldId="214746993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Brianna Lien" userId="f3b5815a-0702-414c-9464-ffb25822869a" providerId="ADAL" clId="{E766F019-8490-4E26-84E2-621B5357DDEE}" dt="2024-05-28T14:37:02.257" v="5790"/>
              <pc2:cmMkLst xmlns:pc2="http://schemas.microsoft.com/office/powerpoint/2019/9/main/command">
                <pc:docMk/>
                <pc:sldMk cId="36038396" sldId="2147469930"/>
                <pc2:cmMk id="{9C8ECE3E-1129-42BB-8793-6143F89A6576}"/>
              </pc2:cmMkLst>
            </pc226:cmChg>
          </p:ext>
        </pc:extLst>
      </pc:sldChg>
      <pc:sldChg chg="add">
        <pc:chgData name="Brianna Lien" userId="f3b5815a-0702-414c-9464-ffb25822869a" providerId="ADAL" clId="{E766F019-8490-4E26-84E2-621B5357DDEE}" dt="2024-05-06T16:15:40.300" v="3365"/>
        <pc:sldMkLst>
          <pc:docMk/>
          <pc:sldMk cId="2475446499" sldId="2147469931"/>
        </pc:sldMkLst>
      </pc:sldChg>
      <pc:sldChg chg="addSp delSp modSp add mod">
        <pc:chgData name="Brianna Lien" userId="f3b5815a-0702-414c-9464-ffb25822869a" providerId="ADAL" clId="{E766F019-8490-4E26-84E2-621B5357DDEE}" dt="2024-05-07T08:35:57.568" v="4787" actId="14100"/>
        <pc:sldMkLst>
          <pc:docMk/>
          <pc:sldMk cId="3491936847" sldId="2147469932"/>
        </pc:sldMkLst>
      </pc:sldChg>
      <pc:sldMasterChg chg="del delSldLayout">
        <pc:chgData name="Brianna Lien" userId="f3b5815a-0702-414c-9464-ffb25822869a" providerId="ADAL" clId="{E766F019-8490-4E26-84E2-621B5357DDEE}" dt="2024-05-03T16:07:41.120" v="2524" actId="700"/>
        <pc:sldMasterMkLst>
          <pc:docMk/>
          <pc:sldMasterMk cId="52872110" sldId="2147483679"/>
        </pc:sldMasterMkLst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124567722" sldId="2147483680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079902048" sldId="2147483681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186179345" sldId="2147483682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076593336" sldId="2147483683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015121411" sldId="214748368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32728203" sldId="214748368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674500358" sldId="2147483686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715453521" sldId="2147483687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863821249" sldId="2147483688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73213382" sldId="2147483689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468780864" sldId="2147483690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791887460" sldId="2147483691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124352495" sldId="2147483692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575697741" sldId="2147483693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067395808" sldId="214748369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351093734" sldId="214748369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377296047" sldId="2147483697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2411532860" sldId="2147483704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3575310769" sldId="2147483705"/>
          </pc:sldLayoutMkLst>
        </pc:sldLayoutChg>
        <pc:sldLayoutChg chg="del">
          <pc:chgData name="Brianna Lien" userId="f3b5815a-0702-414c-9464-ffb25822869a" providerId="ADAL" clId="{E766F019-8490-4E26-84E2-621B5357DDEE}" dt="2024-05-03T16:07:41.120" v="2524" actId="700"/>
          <pc:sldLayoutMkLst>
            <pc:docMk/>
            <pc:sldMasterMk cId="52872110" sldId="2147483679"/>
            <pc:sldLayoutMk cId="1733623855" sldId="2147483706"/>
          </pc:sldLayoutMkLst>
        </pc:sldLayoutChg>
      </pc:sldMasterChg>
      <pc:sldMasterChg chg="del delSldLayout">
        <pc:chgData name="Brianna Lien" userId="f3b5815a-0702-414c-9464-ffb25822869a" providerId="ADAL" clId="{E766F019-8490-4E26-84E2-621B5357DDEE}" dt="2024-05-03T16:06:24.381" v="2517" actId="700"/>
        <pc:sldMasterMkLst>
          <pc:docMk/>
          <pc:sldMasterMk cId="2558327562" sldId="2147483707"/>
        </pc:sldMasterMkLst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611089914" sldId="2147483708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034447273" sldId="2147483709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609281010" sldId="2147483710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2662222582" sldId="2147483711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22732430" sldId="2147483712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594629679" sldId="2147483713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422971319" sldId="2147483714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3327245959" sldId="2147483715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696561265" sldId="2147483716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780382094" sldId="2147483717"/>
          </pc:sldLayoutMkLst>
        </pc:sldLayoutChg>
        <pc:sldLayoutChg chg="del">
          <pc:chgData name="Brianna Lien" userId="f3b5815a-0702-414c-9464-ffb25822869a" providerId="ADAL" clId="{E766F019-8490-4E26-84E2-621B5357DDEE}" dt="2024-05-03T16:06:24.381" v="2517" actId="700"/>
          <pc:sldLayoutMkLst>
            <pc:docMk/>
            <pc:sldMasterMk cId="2558327562" sldId="2147483707"/>
            <pc:sldLayoutMk cId="1161137700" sldId="2147483718"/>
          </pc:sldLayoutMkLst>
        </pc:sldLayoutChg>
      </pc:sldMasterChg>
    </pc:docChg>
  </pc:docChgLst>
  <pc:docChgLst>
    <pc:chgData name="Brianna Lien" userId="f3b5815a-0702-414c-9464-ffb25822869a" providerId="ADAL" clId="{A5DF8D5A-8DB1-4D40-A212-1462F010E50D}"/>
    <pc:docChg chg="custSel addSld delSld modSld sldOrd delMainMaster">
      <pc:chgData name="Brianna Lien" userId="f3b5815a-0702-414c-9464-ffb25822869a" providerId="ADAL" clId="{A5DF8D5A-8DB1-4D40-A212-1462F010E50D}" dt="2024-05-02T10:54:01.028" v="3383"/>
      <pc:docMkLst>
        <pc:docMk/>
      </pc:docMkLst>
      <pc:sldChg chg="modSp mod">
        <pc:chgData name="Brianna Lien" userId="f3b5815a-0702-414c-9464-ffb25822869a" providerId="ADAL" clId="{A5DF8D5A-8DB1-4D40-A212-1462F010E50D}" dt="2024-04-23T08:29:38.576" v="26" actId="20577"/>
        <pc:sldMkLst>
          <pc:docMk/>
          <pc:sldMk cId="3488754185" sldId="256"/>
        </pc:sldMkLst>
      </pc:sldChg>
      <pc:sldChg chg="modSp new mod">
        <pc:chgData name="Brianna Lien" userId="f3b5815a-0702-414c-9464-ffb25822869a" providerId="ADAL" clId="{A5DF8D5A-8DB1-4D40-A212-1462F010E50D}" dt="2024-04-23T14:40:37.932" v="1607" actId="20577"/>
        <pc:sldMkLst>
          <pc:docMk/>
          <pc:sldMk cId="2359098254" sldId="257"/>
        </pc:sldMkLst>
      </pc:sldChg>
      <pc:sldChg chg="modSp new mod">
        <pc:chgData name="Brianna Lien" userId="f3b5815a-0702-414c-9464-ffb25822869a" providerId="ADAL" clId="{A5DF8D5A-8DB1-4D40-A212-1462F010E50D}" dt="2024-04-24T13:14:42.256" v="2046" actId="27636"/>
        <pc:sldMkLst>
          <pc:docMk/>
          <pc:sldMk cId="3143414294" sldId="258"/>
        </pc:sldMkLst>
      </pc:sldChg>
      <pc:sldChg chg="add">
        <pc:chgData name="Brianna Lien" userId="f3b5815a-0702-414c-9464-ffb25822869a" providerId="ADAL" clId="{A5DF8D5A-8DB1-4D40-A212-1462F010E50D}" dt="2024-05-02T10:54:01.028" v="3383"/>
        <pc:sldMkLst>
          <pc:docMk/>
          <pc:sldMk cId="983440853" sldId="259"/>
        </pc:sldMkLst>
      </pc:sldChg>
      <pc:sldChg chg="add">
        <pc:chgData name="Brianna Lien" userId="f3b5815a-0702-414c-9464-ffb25822869a" providerId="ADAL" clId="{A5DF8D5A-8DB1-4D40-A212-1462F010E50D}" dt="2024-04-24T16:32:45.878" v="3061"/>
        <pc:sldMkLst>
          <pc:docMk/>
          <pc:sldMk cId="1533286221" sldId="276"/>
        </pc:sldMkLst>
      </pc:sldChg>
      <pc:sldChg chg="addSp delSp modSp add mod">
        <pc:chgData name="Brianna Lien" userId="f3b5815a-0702-414c-9464-ffb25822869a" providerId="ADAL" clId="{A5DF8D5A-8DB1-4D40-A212-1462F010E50D}" dt="2024-04-25T11:45:31.625" v="3171"/>
        <pc:sldMkLst>
          <pc:docMk/>
          <pc:sldMk cId="96322911" sldId="301"/>
        </pc:sldMkLst>
      </pc:sldChg>
      <pc:sldChg chg="addSp delSp modSp mod ord">
        <pc:chgData name="Brianna Lien" userId="f3b5815a-0702-414c-9464-ffb25822869a" providerId="ADAL" clId="{A5DF8D5A-8DB1-4D40-A212-1462F010E50D}" dt="2024-05-02T10:51:16.614" v="3380" actId="478"/>
        <pc:sldMkLst>
          <pc:docMk/>
          <pc:sldMk cId="1763847388" sldId="909"/>
        </pc:sldMkLst>
      </pc:sldChg>
      <pc:sldChg chg="del">
        <pc:chgData name="Brianna Lien" userId="f3b5815a-0702-414c-9464-ffb25822869a" providerId="ADAL" clId="{A5DF8D5A-8DB1-4D40-A212-1462F010E50D}" dt="2024-04-25T08:58:02.109" v="3168" actId="47"/>
        <pc:sldMkLst>
          <pc:docMk/>
          <pc:sldMk cId="1000758672" sldId="910"/>
        </pc:sldMkLst>
      </pc:sldChg>
      <pc:sldChg chg="modSp mod ord addCm modCm">
        <pc:chgData name="Brianna Lien" userId="f3b5815a-0702-414c-9464-ffb25822869a" providerId="ADAL" clId="{A5DF8D5A-8DB1-4D40-A212-1462F010E50D}" dt="2024-04-24T14:36:46.604" v="2644" actId="1076"/>
        <pc:sldMkLst>
          <pc:docMk/>
          <pc:sldMk cId="2551951913" sldId="9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Brianna Lien" userId="f3b5815a-0702-414c-9464-ffb25822869a" providerId="ADAL" clId="{A5DF8D5A-8DB1-4D40-A212-1462F010E50D}" dt="2024-04-24T11:54:18.013" v="1651" actId="2056"/>
              <pc2:cmMkLst xmlns:pc2="http://schemas.microsoft.com/office/powerpoint/2019/9/main/command">
                <pc:docMk/>
                <pc:sldMk cId="2551951913" sldId="911"/>
                <pc2:cmMk id="{933D4E3B-AABE-4F05-8486-557598503C82}"/>
              </pc2:cmMkLst>
            </pc226:cmChg>
          </p:ext>
        </pc:extLst>
      </pc:sldChg>
      <pc:sldChg chg="add del">
        <pc:chgData name="Brianna Lien" userId="f3b5815a-0702-414c-9464-ffb25822869a" providerId="ADAL" clId="{A5DF8D5A-8DB1-4D40-A212-1462F010E50D}" dt="2024-04-29T14:56:56.604" v="3374" actId="47"/>
        <pc:sldMkLst>
          <pc:docMk/>
          <pc:sldMk cId="3231091519" sldId="2147375148"/>
        </pc:sldMkLst>
      </pc:sldChg>
      <pc:sldChg chg="add del">
        <pc:chgData name="Brianna Lien" userId="f3b5815a-0702-414c-9464-ffb25822869a" providerId="ADAL" clId="{A5DF8D5A-8DB1-4D40-A212-1462F010E50D}" dt="2024-04-24T11:54:26.924" v="1652" actId="47"/>
        <pc:sldMkLst>
          <pc:docMk/>
          <pc:sldMk cId="233671491" sldId="2147375150"/>
        </pc:sldMkLst>
      </pc:sldChg>
      <pc:sldChg chg="add">
        <pc:chgData name="Brianna Lien" userId="f3b5815a-0702-414c-9464-ffb25822869a" providerId="ADAL" clId="{A5DF8D5A-8DB1-4D40-A212-1462F010E50D}" dt="2024-04-29T14:03:45.801" v="3276"/>
        <pc:sldMkLst>
          <pc:docMk/>
          <pc:sldMk cId="4066212355" sldId="2147375221"/>
        </pc:sldMkLst>
      </pc:sldChg>
      <pc:sldChg chg="add del">
        <pc:chgData name="Brianna Lien" userId="f3b5815a-0702-414c-9464-ffb25822869a" providerId="ADAL" clId="{A5DF8D5A-8DB1-4D40-A212-1462F010E50D}" dt="2024-04-29T14:03:31.081" v="3275" actId="47"/>
        <pc:sldMkLst>
          <pc:docMk/>
          <pc:sldMk cId="3679438254" sldId="2147375223"/>
        </pc:sldMkLst>
      </pc:sldChg>
      <pc:sldChg chg="addSp delSp modSp add mod">
        <pc:chgData name="Brianna Lien" userId="f3b5815a-0702-414c-9464-ffb25822869a" providerId="ADAL" clId="{A5DF8D5A-8DB1-4D40-A212-1462F010E50D}" dt="2024-04-29T13:57:32.550" v="3273" actId="20577"/>
        <pc:sldMkLst>
          <pc:docMk/>
          <pc:sldMk cId="515246607" sldId="2147469917"/>
        </pc:sldMkLst>
      </pc:sldChg>
      <pc:sldChg chg="modSp new mod">
        <pc:chgData name="Brianna Lien" userId="f3b5815a-0702-414c-9464-ffb25822869a" providerId="ADAL" clId="{A5DF8D5A-8DB1-4D40-A212-1462F010E50D}" dt="2024-04-24T12:49:41.419" v="2043" actId="20577"/>
        <pc:sldMkLst>
          <pc:docMk/>
          <pc:sldMk cId="1982613756" sldId="2147469918"/>
        </pc:sldMkLst>
      </pc:sldChg>
      <pc:sldChg chg="addSp delSp modSp new del mod">
        <pc:chgData name="Brianna Lien" userId="f3b5815a-0702-414c-9464-ffb25822869a" providerId="ADAL" clId="{A5DF8D5A-8DB1-4D40-A212-1462F010E50D}" dt="2024-04-29T14:07:28.001" v="3278" actId="47"/>
        <pc:sldMkLst>
          <pc:docMk/>
          <pc:sldMk cId="3033011014" sldId="2147469919"/>
        </pc:sldMkLst>
      </pc:sldChg>
      <pc:sldChg chg="modSp add mod ord">
        <pc:chgData name="Brianna Lien" userId="f3b5815a-0702-414c-9464-ffb25822869a" providerId="ADAL" clId="{A5DF8D5A-8DB1-4D40-A212-1462F010E50D}" dt="2024-04-24T13:51:39.195" v="2584"/>
        <pc:sldMkLst>
          <pc:docMk/>
          <pc:sldMk cId="2348600632" sldId="2147469920"/>
        </pc:sldMkLst>
      </pc:sldChg>
      <pc:sldChg chg="new del">
        <pc:chgData name="Brianna Lien" userId="f3b5815a-0702-414c-9464-ffb25822869a" providerId="ADAL" clId="{A5DF8D5A-8DB1-4D40-A212-1462F010E50D}" dt="2024-04-24T15:15:00.822" v="2659" actId="47"/>
        <pc:sldMkLst>
          <pc:docMk/>
          <pc:sldMk cId="1692887588" sldId="2147469921"/>
        </pc:sldMkLst>
      </pc:sldChg>
      <pc:sldChg chg="addSp modSp new mod ord modNotesTx">
        <pc:chgData name="Brianna Lien" userId="f3b5815a-0702-414c-9464-ffb25822869a" providerId="ADAL" clId="{A5DF8D5A-8DB1-4D40-A212-1462F010E50D}" dt="2024-04-29T14:44:34.980" v="3373" actId="1076"/>
        <pc:sldMkLst>
          <pc:docMk/>
          <pc:sldMk cId="4169332890" sldId="2147469921"/>
        </pc:sldMkLst>
      </pc:sldChg>
      <pc:sldChg chg="addSp delSp modSp new mod modNotesTx">
        <pc:chgData name="Brianna Lien" userId="f3b5815a-0702-414c-9464-ffb25822869a" providerId="ADAL" clId="{A5DF8D5A-8DB1-4D40-A212-1462F010E50D}" dt="2024-05-02T10:51:29.835" v="3382" actId="1076"/>
        <pc:sldMkLst>
          <pc:docMk/>
          <pc:sldMk cId="550996224" sldId="2147469922"/>
        </pc:sldMkLst>
      </pc:sldChg>
      <pc:sldChg chg="addSp modSp new del mod modNotesTx">
        <pc:chgData name="Brianna Lien" userId="f3b5815a-0702-414c-9464-ffb25822869a" providerId="ADAL" clId="{A5DF8D5A-8DB1-4D40-A212-1462F010E50D}" dt="2024-04-29T14:28:46.936" v="3368" actId="2696"/>
        <pc:sldMkLst>
          <pc:docMk/>
          <pc:sldMk cId="1753043421" sldId="2147469923"/>
        </pc:sldMkLst>
      </pc:sldChg>
      <pc:sldChg chg="add del">
        <pc:chgData name="Brianna Lien" userId="f3b5815a-0702-414c-9464-ffb25822869a" providerId="ADAL" clId="{A5DF8D5A-8DB1-4D40-A212-1462F010E50D}" dt="2024-04-29T14:07:09.620" v="3277" actId="47"/>
        <pc:sldMkLst>
          <pc:docMk/>
          <pc:sldMk cId="788865827" sldId="2147476245"/>
        </pc:sldMkLst>
      </pc:sldChg>
      <pc:sldMasterChg chg="delSldLayout">
        <pc:chgData name="Brianna Lien" userId="f3b5815a-0702-414c-9464-ffb25822869a" providerId="ADAL" clId="{A5DF8D5A-8DB1-4D40-A212-1462F010E50D}" dt="2024-04-29T14:28:46.936" v="3368" actId="2696"/>
        <pc:sldMasterMkLst>
          <pc:docMk/>
          <pc:sldMasterMk cId="3277864969" sldId="2147483660"/>
        </pc:sldMasterMkLst>
        <pc:sldLayoutChg chg="del">
          <pc:chgData name="Brianna Lien" userId="f3b5815a-0702-414c-9464-ffb25822869a" providerId="ADAL" clId="{A5DF8D5A-8DB1-4D40-A212-1462F010E50D}" dt="2024-04-29T14:28:46.936" v="3368" actId="2696"/>
          <pc:sldLayoutMkLst>
            <pc:docMk/>
            <pc:sldMasterMk cId="3277864969" sldId="2147483660"/>
            <pc:sldLayoutMk cId="3513607046" sldId="2147483676"/>
          </pc:sldLayoutMkLst>
        </pc:sldLayoutChg>
      </pc:sldMasterChg>
      <pc:sldMasterChg chg="delSldLayout">
        <pc:chgData name="Brianna Lien" userId="f3b5815a-0702-414c-9464-ffb25822869a" providerId="ADAL" clId="{A5DF8D5A-8DB1-4D40-A212-1462F010E50D}" dt="2024-04-29T14:07:09.620" v="3277" actId="47"/>
        <pc:sldMasterMkLst>
          <pc:docMk/>
          <pc:sldMasterMk cId="2558327562" sldId="2147483707"/>
        </pc:sldMasterMkLst>
        <pc:sldLayoutChg chg="del">
          <pc:chgData name="Brianna Lien" userId="f3b5815a-0702-414c-9464-ffb25822869a" providerId="ADAL" clId="{A5DF8D5A-8DB1-4D40-A212-1462F010E50D}" dt="2024-04-29T14:07:09.620" v="3277" actId="47"/>
          <pc:sldLayoutMkLst>
            <pc:docMk/>
            <pc:sldMasterMk cId="2558327562" sldId="2147483707"/>
            <pc:sldLayoutMk cId="3442254273" sldId="2147483751"/>
          </pc:sldLayoutMkLst>
        </pc:sldLayoutChg>
      </pc:sldMasterChg>
      <pc:sldMasterChg chg="del delSldLayout">
        <pc:chgData name="Brianna Lien" userId="f3b5815a-0702-414c-9464-ffb25822869a" providerId="ADAL" clId="{A5DF8D5A-8DB1-4D40-A212-1462F010E50D}" dt="2024-04-29T14:56:56.604" v="3374" actId="47"/>
        <pc:sldMasterMkLst>
          <pc:docMk/>
          <pc:sldMasterMk cId="2407045559" sldId="2147483720"/>
        </pc:sldMasterMkLst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853328882" sldId="2147483721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1240335581" sldId="2147483722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400176243" sldId="2147483723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518246088" sldId="2147483724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228093715" sldId="2147483725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308567295" sldId="2147483726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622422321" sldId="2147483727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326908505" sldId="2147483728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021199614" sldId="2147483729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596890814" sldId="2147483730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2239644897" sldId="2147483731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912023760" sldId="2147483732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1288507273" sldId="2147483733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3991368294" sldId="2147483734"/>
          </pc:sldLayoutMkLst>
        </pc:sldLayoutChg>
        <pc:sldLayoutChg chg="del">
          <pc:chgData name="Brianna Lien" userId="f3b5815a-0702-414c-9464-ffb25822869a" providerId="ADAL" clId="{A5DF8D5A-8DB1-4D40-A212-1462F010E50D}" dt="2024-04-29T14:56:56.604" v="3374" actId="47"/>
          <pc:sldLayoutMkLst>
            <pc:docMk/>
            <pc:sldMasterMk cId="2407045559" sldId="2147483720"/>
            <pc:sldLayoutMk cId="408002058" sldId="2147483735"/>
          </pc:sldLayoutMkLst>
        </pc:sldLayoutChg>
      </pc:sldMasterChg>
    </pc:docChg>
  </pc:docChgLst>
  <pc:docChgLst>
    <pc:chgData name="Brianna Lien" userId="f3b5815a-0702-414c-9464-ffb25822869a" providerId="ADAL" clId="{0BD7137A-A60C-46A1-A967-761108C0CF5A}"/>
    <pc:docChg chg="undo custSel delSld modSld">
      <pc:chgData name="Brianna Lien" userId="f3b5815a-0702-414c-9464-ffb25822869a" providerId="ADAL" clId="{0BD7137A-A60C-46A1-A967-761108C0CF5A}" dt="2025-01-10T15:18:22.880" v="269" actId="20577"/>
      <pc:docMkLst>
        <pc:docMk/>
      </pc:docMkLst>
      <pc:sldChg chg="modSp del mod">
        <pc:chgData name="Brianna Lien" userId="f3b5815a-0702-414c-9464-ffb25822869a" providerId="ADAL" clId="{0BD7137A-A60C-46A1-A967-761108C0CF5A}" dt="2025-01-09T09:56:59.938" v="138" actId="47"/>
        <pc:sldMkLst>
          <pc:docMk/>
          <pc:sldMk cId="2652259109" sldId="277"/>
        </pc:sldMkLst>
      </pc:sldChg>
      <pc:sldChg chg="modSp del mod">
        <pc:chgData name="Brianna Lien" userId="f3b5815a-0702-414c-9464-ffb25822869a" providerId="ADAL" clId="{0BD7137A-A60C-46A1-A967-761108C0CF5A}" dt="2025-01-09T09:56:52.813" v="137" actId="47"/>
        <pc:sldMkLst>
          <pc:docMk/>
          <pc:sldMk cId="36038396" sldId="2147469930"/>
        </pc:sldMkLst>
      </pc:sldChg>
      <pc:sldChg chg="addSp delSp modSp mod">
        <pc:chgData name="Brianna Lien" userId="f3b5815a-0702-414c-9464-ffb25822869a" providerId="ADAL" clId="{0BD7137A-A60C-46A1-A967-761108C0CF5A}" dt="2025-01-09T12:51:39.514" v="239" actId="20577"/>
        <pc:sldMkLst>
          <pc:docMk/>
          <pc:sldMk cId="3824440216" sldId="2147469931"/>
        </pc:sldMkLst>
      </pc:sldChg>
      <pc:sldChg chg="modSp mod">
        <pc:chgData name="Brianna Lien" userId="f3b5815a-0702-414c-9464-ffb25822869a" providerId="ADAL" clId="{0BD7137A-A60C-46A1-A967-761108C0CF5A}" dt="2025-01-10T15:18:22.880" v="269" actId="20577"/>
        <pc:sldMkLst>
          <pc:docMk/>
          <pc:sldMk cId="2138931742" sldId="2147469932"/>
        </pc:sldMkLst>
      </pc:sldChg>
      <pc:sldChg chg="modSp mod">
        <pc:chgData name="Brianna Lien" userId="f3b5815a-0702-414c-9464-ffb25822869a" providerId="ADAL" clId="{0BD7137A-A60C-46A1-A967-761108C0CF5A}" dt="2025-01-09T09:56:27.664" v="136"/>
        <pc:sldMkLst>
          <pc:docMk/>
          <pc:sldMk cId="973466118" sldId="2147469933"/>
        </pc:sldMkLst>
      </pc:sldChg>
    </pc:docChg>
  </pc:docChgLst>
  <pc:docChgLst>
    <pc:chgData name="Brianna Lien" userId="f3b5815a-0702-414c-9464-ffb25822869a" providerId="ADAL" clId="{EE436324-6274-427C-A630-1CFEE9136FC3}"/>
    <pc:docChg chg="modSld">
      <pc:chgData name="Brianna Lien" userId="f3b5815a-0702-414c-9464-ffb25822869a" providerId="ADAL" clId="{EE436324-6274-427C-A630-1CFEE9136FC3}" dt="2025-10-23T11:32:14.670" v="15" actId="20577"/>
      <pc:docMkLst>
        <pc:docMk/>
      </pc:docMkLst>
      <pc:sldChg chg="modSp mod">
        <pc:chgData name="Brianna Lien" userId="f3b5815a-0702-414c-9464-ffb25822869a" providerId="ADAL" clId="{EE436324-6274-427C-A630-1CFEE9136FC3}" dt="2025-10-23T11:32:14.670" v="15" actId="20577"/>
        <pc:sldMkLst>
          <pc:docMk/>
          <pc:sldMk cId="973466118" sldId="2147469933"/>
        </pc:sldMkLst>
        <pc:spChg chg="mod">
          <ac:chgData name="Brianna Lien" userId="f3b5815a-0702-414c-9464-ffb25822869a" providerId="ADAL" clId="{EE436324-6274-427C-A630-1CFEE9136FC3}" dt="2025-10-23T11:32:14.670" v="15" actId="20577"/>
          <ac:spMkLst>
            <pc:docMk/>
            <pc:sldMk cId="973466118" sldId="2147469933"/>
            <ac:spMk id="4" creationId="{611B5B65-475C-2E72-1509-2AA122FD38C0}"/>
          </ac:spMkLst>
        </pc:spChg>
        <pc:spChg chg="mod">
          <ac:chgData name="Brianna Lien" userId="f3b5815a-0702-414c-9464-ffb25822869a" providerId="ADAL" clId="{EE436324-6274-427C-A630-1CFEE9136FC3}" dt="2025-10-23T11:31:53.932" v="8" actId="207"/>
          <ac:spMkLst>
            <pc:docMk/>
            <pc:sldMk cId="973466118" sldId="2147469933"/>
            <ac:spMk id="49" creationId="{8D79B55B-EF59-2C9D-7B6D-84E89FDE2AAB}"/>
          </ac:spMkLst>
        </pc:spChg>
      </pc:sldChg>
    </pc:docChg>
  </pc:docChgLst>
  <pc:docChgLst>
    <pc:chgData name="Brianna Lien" userId="f3b5815a-0702-414c-9464-ffb25822869a" providerId="ADAL" clId="{80ABF9A1-73C1-4B81-9F8B-969E5B7CC65F}"/>
    <pc:docChg chg="custSel addSld delSld modSld sldOrd delMainMaster">
      <pc:chgData name="Brianna Lien" userId="f3b5815a-0702-414c-9464-ffb25822869a" providerId="ADAL" clId="{80ABF9A1-73C1-4B81-9F8B-969E5B7CC65F}" dt="2024-06-05T10:07:26.636" v="1411" actId="20577"/>
      <pc:docMkLst>
        <pc:docMk/>
      </pc:docMkLst>
      <pc:sldChg chg="del">
        <pc:chgData name="Brianna Lien" userId="f3b5815a-0702-414c-9464-ffb25822869a" providerId="ADAL" clId="{80ABF9A1-73C1-4B81-9F8B-969E5B7CC65F}" dt="2024-05-29T13:01:14.616" v="0" actId="47"/>
        <pc:sldMkLst>
          <pc:docMk/>
          <pc:sldMk cId="3488754185" sldId="256"/>
        </pc:sldMkLst>
      </pc:sldChg>
      <pc:sldChg chg="del">
        <pc:chgData name="Brianna Lien" userId="f3b5815a-0702-414c-9464-ffb25822869a" providerId="ADAL" clId="{80ABF9A1-73C1-4B81-9F8B-969E5B7CC65F}" dt="2024-05-29T13:01:15.998" v="2" actId="47"/>
        <pc:sldMkLst>
          <pc:docMk/>
          <pc:sldMk cId="2359098254" sldId="257"/>
        </pc:sldMkLst>
      </pc:sldChg>
      <pc:sldChg chg="del">
        <pc:chgData name="Brianna Lien" userId="f3b5815a-0702-414c-9464-ffb25822869a" providerId="ADAL" clId="{80ABF9A1-73C1-4B81-9F8B-969E5B7CC65F}" dt="2024-05-29T13:01:18.392" v="3" actId="47"/>
        <pc:sldMkLst>
          <pc:docMk/>
          <pc:sldMk cId="3143414294" sldId="258"/>
        </pc:sldMkLst>
      </pc:sldChg>
      <pc:sldChg chg="addSp delSp modSp mod">
        <pc:chgData name="Brianna Lien" userId="f3b5815a-0702-414c-9464-ffb25822869a" providerId="ADAL" clId="{80ABF9A1-73C1-4B81-9F8B-969E5B7CC65F}" dt="2024-06-05T10:07:26.636" v="1411" actId="20577"/>
        <pc:sldMkLst>
          <pc:docMk/>
          <pc:sldMk cId="2652259109" sldId="277"/>
        </pc:sldMkLst>
      </pc:sldChg>
      <pc:sldChg chg="addSp modSp mod modNotesTx">
        <pc:chgData name="Brianna Lien" userId="f3b5815a-0702-414c-9464-ffb25822869a" providerId="ADAL" clId="{80ABF9A1-73C1-4B81-9F8B-969E5B7CC65F}" dt="2024-06-04T15:52:42.751" v="1188"/>
        <pc:sldMkLst>
          <pc:docMk/>
          <pc:sldMk cId="96322911" sldId="301"/>
        </pc:sldMkLst>
      </pc:sldChg>
      <pc:sldChg chg="addSp modSp mod">
        <pc:chgData name="Brianna Lien" userId="f3b5815a-0702-414c-9464-ffb25822869a" providerId="ADAL" clId="{80ABF9A1-73C1-4B81-9F8B-969E5B7CC65F}" dt="2024-05-29T16:17:56.819" v="829" actId="207"/>
        <pc:sldMkLst>
          <pc:docMk/>
          <pc:sldMk cId="2477321240" sldId="302"/>
        </pc:sldMkLst>
      </pc:sldChg>
      <pc:sldChg chg="addSp modSp mod ord modNotesTx">
        <pc:chgData name="Brianna Lien" userId="f3b5815a-0702-414c-9464-ffb25822869a" providerId="ADAL" clId="{80ABF9A1-73C1-4B81-9F8B-969E5B7CC65F}" dt="2024-06-05T10:04:50.521" v="1345" actId="1037"/>
        <pc:sldMkLst>
          <pc:docMk/>
          <pc:sldMk cId="1763847388" sldId="909"/>
        </pc:sldMkLst>
      </pc:sldChg>
      <pc:sldChg chg="addSp modSp mod">
        <pc:chgData name="Brianna Lien" userId="f3b5815a-0702-414c-9464-ffb25822869a" providerId="ADAL" clId="{80ABF9A1-73C1-4B81-9F8B-969E5B7CC65F}" dt="2024-06-05T09:58:01.516" v="1318" actId="1037"/>
        <pc:sldMkLst>
          <pc:docMk/>
          <pc:sldMk cId="2551951913" sldId="911"/>
        </pc:sldMkLst>
      </pc:sldChg>
      <pc:sldChg chg="addSp modSp mod ord">
        <pc:chgData name="Brianna Lien" userId="f3b5815a-0702-414c-9464-ffb25822869a" providerId="ADAL" clId="{80ABF9A1-73C1-4B81-9F8B-969E5B7CC65F}" dt="2024-06-05T09:58:12.996" v="1319" actId="1076"/>
        <pc:sldMkLst>
          <pc:docMk/>
          <pc:sldMk cId="4066212355" sldId="2147375221"/>
        </pc:sldMkLst>
      </pc:sldChg>
      <pc:sldChg chg="addSp delSp modSp mod modNotesTx">
        <pc:chgData name="Brianna Lien" userId="f3b5815a-0702-414c-9464-ffb25822869a" providerId="ADAL" clId="{80ABF9A1-73C1-4B81-9F8B-969E5B7CC65F}" dt="2024-06-05T10:02:07.679" v="1320" actId="947"/>
        <pc:sldMkLst>
          <pc:docMk/>
          <pc:sldMk cId="363803934" sldId="2147469893"/>
        </pc:sldMkLst>
      </pc:sldChg>
      <pc:sldChg chg="del">
        <pc:chgData name="Brianna Lien" userId="f3b5815a-0702-414c-9464-ffb25822869a" providerId="ADAL" clId="{80ABF9A1-73C1-4B81-9F8B-969E5B7CC65F}" dt="2024-05-29T13:01:15.281" v="1" actId="47"/>
        <pc:sldMkLst>
          <pc:docMk/>
          <pc:sldMk cId="1982613756" sldId="2147469918"/>
        </pc:sldMkLst>
      </pc:sldChg>
      <pc:sldChg chg="addSp modSp mod">
        <pc:chgData name="Brianna Lien" userId="f3b5815a-0702-414c-9464-ffb25822869a" providerId="ADAL" clId="{80ABF9A1-73C1-4B81-9F8B-969E5B7CC65F}" dt="2024-05-29T16:04:01.526" v="814" actId="123"/>
        <pc:sldMkLst>
          <pc:docMk/>
          <pc:sldMk cId="550996224" sldId="2147469922"/>
        </pc:sldMkLst>
      </pc:sldChg>
      <pc:sldChg chg="addSp delSp modSp mod">
        <pc:chgData name="Brianna Lien" userId="f3b5815a-0702-414c-9464-ffb25822869a" providerId="ADAL" clId="{80ABF9A1-73C1-4B81-9F8B-969E5B7CC65F}" dt="2024-05-29T15:53:13.026" v="757" actId="1035"/>
        <pc:sldMkLst>
          <pc:docMk/>
          <pc:sldMk cId="2927679592" sldId="2147469924"/>
        </pc:sldMkLst>
      </pc:sldChg>
      <pc:sldChg chg="addSp delSp modSp mod">
        <pc:chgData name="Brianna Lien" userId="f3b5815a-0702-414c-9464-ffb25822869a" providerId="ADAL" clId="{80ABF9A1-73C1-4B81-9F8B-969E5B7CC65F}" dt="2024-06-04T15:55:41.280" v="1255" actId="255"/>
        <pc:sldMkLst>
          <pc:docMk/>
          <pc:sldMk cId="3840920783" sldId="2147469925"/>
        </pc:sldMkLst>
      </pc:sldChg>
      <pc:sldChg chg="addSp delSp modSp mod">
        <pc:chgData name="Brianna Lien" userId="f3b5815a-0702-414c-9464-ffb25822869a" providerId="ADAL" clId="{80ABF9A1-73C1-4B81-9F8B-969E5B7CC65F}" dt="2024-06-04T15:43:03.935" v="1185" actId="20577"/>
        <pc:sldMkLst>
          <pc:docMk/>
          <pc:sldMk cId="3200755068" sldId="2147469927"/>
        </pc:sldMkLst>
      </pc:sldChg>
      <pc:sldChg chg="addSp delSp modSp mod">
        <pc:chgData name="Brianna Lien" userId="f3b5815a-0702-414c-9464-ffb25822869a" providerId="ADAL" clId="{80ABF9A1-73C1-4B81-9F8B-969E5B7CC65F}" dt="2024-06-05T09:57:40.594" v="1272" actId="1076"/>
        <pc:sldMkLst>
          <pc:docMk/>
          <pc:sldMk cId="2698767485" sldId="2147469928"/>
        </pc:sldMkLst>
      </pc:sldChg>
      <pc:sldChg chg="addSp delSp modSp del mod">
        <pc:chgData name="Brianna Lien" userId="f3b5815a-0702-414c-9464-ffb25822869a" providerId="ADAL" clId="{80ABF9A1-73C1-4B81-9F8B-969E5B7CC65F}" dt="2024-06-04T15:55:01.537" v="1241" actId="47"/>
        <pc:sldMkLst>
          <pc:docMk/>
          <pc:sldMk cId="3465896249" sldId="2147469929"/>
        </pc:sldMkLst>
      </pc:sldChg>
      <pc:sldChg chg="addSp modSp mod ord delCm modNotesTx">
        <pc:chgData name="Brianna Lien" userId="f3b5815a-0702-414c-9464-ffb25822869a" providerId="ADAL" clId="{80ABF9A1-73C1-4B81-9F8B-969E5B7CC65F}" dt="2024-06-04T14:48:48.424" v="1035" actId="207"/>
        <pc:sldMkLst>
          <pc:docMk/>
          <pc:sldMk cId="36038396" sldId="214746993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rianna Lien" userId="f3b5815a-0702-414c-9464-ffb25822869a" providerId="ADAL" clId="{80ABF9A1-73C1-4B81-9F8B-969E5B7CC65F}" dt="2024-05-29T13:11:29.408" v="19"/>
              <pc2:cmMkLst xmlns:pc2="http://schemas.microsoft.com/office/powerpoint/2019/9/main/command">
                <pc:docMk/>
                <pc:sldMk cId="36038396" sldId="2147469930"/>
                <pc2:cmMk id="{9C8ECE3E-1129-42BB-8793-6143F89A6576}"/>
              </pc2:cmMkLst>
            </pc226:cmChg>
          </p:ext>
        </pc:extLst>
      </pc:sldChg>
      <pc:sldChg chg="addSp modSp mod">
        <pc:chgData name="Brianna Lien" userId="f3b5815a-0702-414c-9464-ffb25822869a" providerId="ADAL" clId="{80ABF9A1-73C1-4B81-9F8B-969E5B7CC65F}" dt="2024-05-29T15:53:51.626" v="782" actId="1035"/>
        <pc:sldMkLst>
          <pc:docMk/>
          <pc:sldMk cId="2475446499" sldId="2147469931"/>
        </pc:sldMkLst>
      </pc:sldChg>
      <pc:sldChg chg="addSp modSp mod">
        <pc:chgData name="Brianna Lien" userId="f3b5815a-0702-414c-9464-ffb25822869a" providerId="ADAL" clId="{80ABF9A1-73C1-4B81-9F8B-969E5B7CC65F}" dt="2024-06-04T14:58:55.936" v="1040"/>
        <pc:sldMkLst>
          <pc:docMk/>
          <pc:sldMk cId="3491936847" sldId="2147469932"/>
        </pc:sldMkLst>
      </pc:sldChg>
      <pc:sldChg chg="addSp delSp modSp add mod">
        <pc:chgData name="Brianna Lien" userId="f3b5815a-0702-414c-9464-ffb25822869a" providerId="ADAL" clId="{80ABF9A1-73C1-4B81-9F8B-969E5B7CC65F}" dt="2024-06-04T15:55:22.631" v="1254" actId="1036"/>
        <pc:sldMkLst>
          <pc:docMk/>
          <pc:sldMk cId="1704104141" sldId="2147469933"/>
        </pc:sldMkLst>
      </pc:sldChg>
      <pc:sldMasterChg chg="del delSldLayout">
        <pc:chgData name="Brianna Lien" userId="f3b5815a-0702-414c-9464-ffb25822869a" providerId="ADAL" clId="{80ABF9A1-73C1-4B81-9F8B-969E5B7CC65F}" dt="2024-05-29T13:01:18.392" v="3" actId="47"/>
        <pc:sldMasterMkLst>
          <pc:docMk/>
          <pc:sldMasterMk cId="1403789739" sldId="2147483648"/>
        </pc:sldMasterMkLst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904089044" sldId="2147483649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306908899" sldId="2147483650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06963554" sldId="2147483651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252154894" sldId="2147483652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910511342" sldId="2147483653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911273252" sldId="2147483654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697311178" sldId="2147483655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1798913766" sldId="2147483656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498482370" sldId="2147483657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2303575071" sldId="2147483658"/>
          </pc:sldLayoutMkLst>
        </pc:sldLayoutChg>
        <pc:sldLayoutChg chg="del">
          <pc:chgData name="Brianna Lien" userId="f3b5815a-0702-414c-9464-ffb25822869a" providerId="ADAL" clId="{80ABF9A1-73C1-4B81-9F8B-969E5B7CC65F}" dt="2024-05-29T13:01:18.392" v="3" actId="47"/>
          <pc:sldLayoutMkLst>
            <pc:docMk/>
            <pc:sldMasterMk cId="1403789739" sldId="2147483648"/>
            <pc:sldLayoutMk cId="3568788579" sldId="2147483659"/>
          </pc:sldLayoutMkLst>
        </pc:sldLayoutChg>
      </pc:sldMasterChg>
    </pc:docChg>
  </pc:docChgLst>
  <pc:docChgLst>
    <pc:chgData name="Brianna Lien" userId="f3b5815a-0702-414c-9464-ffb25822869a" providerId="ADAL" clId="{D4E92FE6-ADE3-45BC-BE08-526597BB5A43}"/>
    <pc:docChg chg="custSel modSld">
      <pc:chgData name="Brianna Lien" userId="f3b5815a-0702-414c-9464-ffb25822869a" providerId="ADAL" clId="{D4E92FE6-ADE3-45BC-BE08-526597BB5A43}" dt="2025-05-13T08:57:39.172" v="6" actId="20577"/>
      <pc:docMkLst>
        <pc:docMk/>
      </pc:docMkLst>
      <pc:sldChg chg="modSp mod">
        <pc:chgData name="Brianna Lien" userId="f3b5815a-0702-414c-9464-ffb25822869a" providerId="ADAL" clId="{D4E92FE6-ADE3-45BC-BE08-526597BB5A43}" dt="2025-05-13T08:53:02.744" v="2" actId="207"/>
        <pc:sldMkLst>
          <pc:docMk/>
          <pc:sldMk cId="3824440216" sldId="2147469931"/>
        </pc:sldMkLst>
      </pc:sldChg>
      <pc:sldChg chg="modSp mod">
        <pc:chgData name="Brianna Lien" userId="f3b5815a-0702-414c-9464-ffb25822869a" providerId="ADAL" clId="{D4E92FE6-ADE3-45BC-BE08-526597BB5A43}" dt="2025-05-13T08:57:39.172" v="6" actId="20577"/>
        <pc:sldMkLst>
          <pc:docMk/>
          <pc:sldMk cId="973466118" sldId="214746993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3766908212560379"/>
          <c:y val="0.777671862584317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7132327209098863"/>
          <c:y val="0.11753373330226242"/>
          <c:w val="0.48736638898398571"/>
          <c:h val="0.573669747750831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25-9842-B7B7-CD267EDEB977}"/>
              </c:ext>
            </c:extLst>
          </c:dPt>
          <c:dPt>
            <c:idx val="1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25-9842-B7B7-CD267EDEB977}"/>
              </c:ext>
            </c:extLst>
          </c:dPt>
          <c:cat>
            <c:strRef>
              <c:f>Sheet1!$A$2:$A$3</c:f>
              <c:strCache>
                <c:ptCount val="2"/>
                <c:pt idx="0">
                  <c:v>ADT Alone (N=554)</c:v>
                </c:pt>
                <c:pt idx="1">
                  <c:v>Product X + ADT (N=955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399999999999999</c:v>
                </c:pt>
                <c:pt idx="1">
                  <c:v>4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25-9842-B7B7-CD267EDEB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44902607"/>
        <c:axId val="544595407"/>
      </c:barChart>
      <c:catAx>
        <c:axId val="5449026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544595407"/>
        <c:crosses val="autoZero"/>
        <c:auto val="1"/>
        <c:lblAlgn val="ctr"/>
        <c:lblOffset val="100"/>
        <c:noMultiLvlLbl val="0"/>
      </c:catAx>
      <c:valAx>
        <c:axId val="5445954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544902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821484270987869"/>
          <c:y val="0.84890283252479115"/>
          <c:w val="0.3543914755220815"/>
          <c:h val="4.93213196873284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390C2B-7162-414C-B9FC-717C29B39D6D}" type="datetimeFigureOut">
              <a:rPr lang="de-DE" smtClean="0"/>
              <a:t>23.10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6897D8-B621-4400-8E77-A874696C1EA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973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F068B-4865-F409-AAA2-ECB681733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188E3-389A-9A16-958C-506B3E7B0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F7917-F01E-E272-EF4A-5FECD6665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0473F-C7B1-3C1B-6817-EC2AAF76D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6897D8-B621-4400-8E77-A874696C1EA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38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F068B-4865-F409-AAA2-ECB681733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4188E3-389A-9A16-958C-506B3E7B02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0F7917-F01E-E272-EF4A-5FECD66658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0473F-C7B1-3C1B-6817-EC2AAF76DF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6897D8-B621-4400-8E77-A874696C1EA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5211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4544E1-1D09-AB48-85D9-A481C4FDF1D0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82BFB1BB-79D2-BE49-B32E-796759290FA6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F1FF3CA-EB91-6949-9C97-5A2D57B5FF3D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95300" y="1122363"/>
            <a:ext cx="7217464" cy="2387600"/>
          </a:xfrm>
        </p:spPr>
        <p:txBody>
          <a:bodyPr anchor="b">
            <a:normAutofit/>
          </a:bodyPr>
          <a:lstStyle>
            <a:lvl1pPr algn="l">
              <a:defRPr sz="3600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95300" y="3602038"/>
            <a:ext cx="7217464" cy="1655762"/>
          </a:xfrm>
        </p:spPr>
        <p:txBody>
          <a:bodyPr lIns="27432">
            <a:normAutofit/>
          </a:bodyPr>
          <a:lstStyle>
            <a:lvl1pPr marL="0" indent="0" algn="l">
              <a:spcBef>
                <a:spcPts val="600"/>
              </a:spcBef>
              <a:buNone/>
              <a:tabLst>
                <a:tab pos="1139825" algn="l"/>
              </a:tabLst>
              <a:defRPr sz="20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5BEB15-B2B8-354F-A837-87D401F033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9829" y="4348904"/>
            <a:ext cx="3165108" cy="214923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C30099A-3FDF-224E-9AED-73506F5DD8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97016" y="336924"/>
            <a:ext cx="1014516" cy="401637"/>
          </a:xfrm>
          <a:prstGeom prst="rect">
            <a:avLst/>
          </a:prstGeom>
        </p:spPr>
      </p:pic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BD3DC730-8A32-F84B-9876-9110A37E47C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CE44606-D3B9-6C43-82A9-F1CDB5D49BFD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A1FC7EC5-A43F-E445-8E38-FD6B75E4F64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4038600" y="6356350"/>
            <a:ext cx="3531243" cy="365125"/>
          </a:xfrm>
        </p:spPr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C7C6FA7-3214-9D45-89CA-C2538FCFB86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F894715-2381-2544-8D3E-69C2484082E1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C05D1E0-697E-A64A-BEEE-8165753E26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A8BB81E-499F-2B44-B243-C09A0FEBB5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4274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B198B-4860-5D47-8F6A-97B7EF5153E4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E223AD-CE3D-734A-98DA-F7BD9700D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AD822D11-7787-5E4F-BC20-6797A5D6734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52731942"/>
              </p:ext>
            </p:extLst>
          </p:nvPr>
        </p:nvGraphicFramePr>
        <p:xfrm>
          <a:off x="1053750" y="1634706"/>
          <a:ext cx="10515600" cy="4866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F7810F2-6875-284F-9C46-4B746216E615}"/>
              </a:ext>
            </a:extLst>
          </p:cNvPr>
          <p:cNvGrpSpPr/>
          <p:nvPr userDrawn="1"/>
        </p:nvGrpSpPr>
        <p:grpSpPr>
          <a:xfrm>
            <a:off x="495300" y="1414514"/>
            <a:ext cx="10622363" cy="545786"/>
            <a:chOff x="445058" y="1414514"/>
            <a:chExt cx="10622363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BF6D785F-3AEF-3845-905B-6CCFDAF9BBF9}"/>
                </a:ext>
              </a:extLst>
            </p:cNvPr>
            <p:cNvSpPr txBox="1">
              <a:spLocks/>
            </p:cNvSpPr>
            <p:nvPr/>
          </p:nvSpPr>
          <p:spPr>
            <a:xfrm>
              <a:off x="445058" y="1414514"/>
              <a:ext cx="10622363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Highly significant increase in MFS vs ADT alone 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A2E8C18-73B6-EF42-A02C-C2BEDF582367}"/>
                </a:ext>
              </a:extLst>
            </p:cNvPr>
            <p:cNvCxnSpPr/>
            <p:nvPr/>
          </p:nvCxnSpPr>
          <p:spPr>
            <a:xfrm>
              <a:off x="445058" y="1899138"/>
              <a:ext cx="1042014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D647CD-5116-964E-9E94-F194DE20D755}"/>
              </a:ext>
            </a:extLst>
          </p:cNvPr>
          <p:cNvSpPr/>
          <p:nvPr userDrawn="1"/>
        </p:nvSpPr>
        <p:spPr>
          <a:xfrm>
            <a:off x="4835719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Charts cannot be templated</a:t>
            </a:r>
          </a:p>
        </p:txBody>
      </p:sp>
    </p:spTree>
    <p:extLst>
      <p:ext uri="{BB962C8B-B14F-4D97-AF65-F5344CB8AC3E}">
        <p14:creationId xmlns:p14="http://schemas.microsoft.com/office/powerpoint/2010/main" val="2206878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Exam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427890-ADB8-B24B-8AF6-B623EB4D7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9470BA-A674-B94A-BE3E-27443BADEBCC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35417F-6848-0341-A8F4-A31CF5A13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0FB84-49F2-EE4F-93B5-2E732A147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9F23A7D-69A5-2846-9794-FE510EE271B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37638683"/>
              </p:ext>
            </p:extLst>
          </p:nvPr>
        </p:nvGraphicFramePr>
        <p:xfrm>
          <a:off x="2083956" y="2137709"/>
          <a:ext cx="7201210" cy="29391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242">
                  <a:extLst>
                    <a:ext uri="{9D8B030D-6E8A-4147-A177-3AD203B41FA5}">
                      <a16:colId xmlns:a16="http://schemas.microsoft.com/office/drawing/2014/main" val="3957934296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3389176171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2668702004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4278197419"/>
                    </a:ext>
                  </a:extLst>
                </a:gridCol>
                <a:gridCol w="1440242">
                  <a:extLst>
                    <a:ext uri="{9D8B030D-6E8A-4147-A177-3AD203B41FA5}">
                      <a16:colId xmlns:a16="http://schemas.microsoft.com/office/drawing/2014/main" val="774662539"/>
                    </a:ext>
                  </a:extLst>
                </a:gridCol>
              </a:tblGrid>
              <a:tr h="645685">
                <a:tc>
                  <a:txBody>
                    <a:bodyPr/>
                    <a:lstStyle/>
                    <a:p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b="0" cap="none" spc="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29324"/>
                  </a:ext>
                </a:extLst>
              </a:tr>
              <a:tr h="572756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318197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712195"/>
                  </a:ext>
                </a:extLst>
              </a:tr>
              <a:tr h="860365"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cap="none" spc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X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8281970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675FDF3-1F72-0540-A111-532C2AFF9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7D5F87-7E05-A54C-B75B-D3238725747F}"/>
              </a:ext>
            </a:extLst>
          </p:cNvPr>
          <p:cNvSpPr/>
          <p:nvPr userDrawn="1"/>
        </p:nvSpPr>
        <p:spPr>
          <a:xfrm>
            <a:off x="4835719" y="127221"/>
            <a:ext cx="3236181" cy="7553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yle Example Only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Tables cannot be templa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170E67E-9ABC-2D4F-937D-3CD77FBD4A1D}"/>
              </a:ext>
            </a:extLst>
          </p:cNvPr>
          <p:cNvGrpSpPr/>
          <p:nvPr userDrawn="1"/>
        </p:nvGrpSpPr>
        <p:grpSpPr>
          <a:xfrm>
            <a:off x="2083956" y="1472638"/>
            <a:ext cx="9033707" cy="545786"/>
            <a:chOff x="2033714" y="1472638"/>
            <a:chExt cx="9033707" cy="545786"/>
          </a:xfrm>
        </p:grpSpPr>
        <p:sp>
          <p:nvSpPr>
            <p:cNvPr id="11" name="Content Placeholder 7">
              <a:extLst>
                <a:ext uri="{FF2B5EF4-FFF2-40B4-BE49-F238E27FC236}">
                  <a16:creationId xmlns:a16="http://schemas.microsoft.com/office/drawing/2014/main" id="{24B5BAB3-15B5-8644-B023-9811CD87B122}"/>
                </a:ext>
              </a:extLst>
            </p:cNvPr>
            <p:cNvSpPr txBox="1">
              <a:spLocks/>
            </p:cNvSpPr>
            <p:nvPr/>
          </p:nvSpPr>
          <p:spPr>
            <a:xfrm>
              <a:off x="2033714" y="1472638"/>
              <a:ext cx="9033707" cy="545786"/>
            </a:xfrm>
            <a:prstGeom prst="rect">
              <a:avLst/>
            </a:prstGeom>
          </p:spPr>
          <p:txBody>
            <a:bodyPr vert="horz" lIns="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Helvetica" pitchFamily="2" charset="0"/>
                <a:buChar char="―"/>
                <a:defRPr sz="20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Char char="o"/>
                <a:defRPr sz="18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Table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9006CA3-C958-8548-A9BA-119C6D4F859B}"/>
                </a:ext>
              </a:extLst>
            </p:cNvPr>
            <p:cNvCxnSpPr>
              <a:cxnSpLocks/>
            </p:cNvCxnSpPr>
            <p:nvPr/>
          </p:nvCxnSpPr>
          <p:spPr>
            <a:xfrm>
              <a:off x="2033714" y="1899138"/>
              <a:ext cx="720121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5410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88CBA-B1E9-5943-8F4A-6BE859EC9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506" y="1864281"/>
            <a:ext cx="6172200" cy="36857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AF3F6E-6154-1045-826E-39C332920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44ACD-FC73-5041-B59E-8E665B5F2471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3AA38A-A203-E844-9D1B-2248DDE1C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11E2F-5213-8D42-97AD-3ADF8E30A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66" y="6397451"/>
            <a:ext cx="394643" cy="324024"/>
          </a:xfrm>
        </p:spPr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824CEAE-9DE2-124A-916A-B912EA20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9237C4A-455C-6141-A5F7-EE17FF75CE27}"/>
              </a:ext>
            </a:extLst>
          </p:cNvPr>
          <p:cNvSpPr txBox="1">
            <a:spLocks/>
          </p:cNvSpPr>
          <p:nvPr userDrawn="1"/>
        </p:nvSpPr>
        <p:spPr>
          <a:xfrm>
            <a:off x="839788" y="984079"/>
            <a:ext cx="3932237" cy="1600200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A6D7610-CBFE-1746-914B-FC52DCFF0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25036"/>
            <a:ext cx="3933825" cy="1458912"/>
          </a:xfrm>
        </p:spPr>
        <p:txBody>
          <a:bodyPr anchor="t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123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A34716-9CB5-0B46-9BC2-9833CC8B77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494846"/>
            <a:ext cx="6172200" cy="391204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56B722-8619-394F-8953-EEAE4672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40927"/>
            <a:ext cx="3932237" cy="196596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36B82E-341C-9D49-BE66-C1B30D426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8CF7B-2017-C642-A9EE-8A02B9085AE7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E584CC-6AF3-BA45-A758-AE9107A98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85300-3194-3D44-A000-58B58BCB1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EB02C3C5-7F6B-694F-8C79-105306958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25128"/>
            <a:ext cx="10448193" cy="8908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E1A07E2-D097-A748-A2EB-77F8BD79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25036"/>
            <a:ext cx="3933825" cy="1458912"/>
          </a:xfrm>
        </p:spPr>
        <p:txBody>
          <a:bodyPr anchor="b"/>
          <a:lstStyle>
            <a:lvl1pPr marL="0" indent="0">
              <a:buNone/>
              <a:defRPr b="1" cap="all" baseline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89338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0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6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9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AADF22-57BE-5644-9C47-1004662BB2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6" name="Picture 2" descr="Logo&#10;&#10;Description automatically generated">
            <a:extLst>
              <a:ext uri="{FF2B5EF4-FFF2-40B4-BE49-F238E27FC236}">
                <a16:creationId xmlns:a16="http://schemas.microsoft.com/office/drawing/2014/main" id="{BD1C8730-CA94-78A7-D66E-BE92561DA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464527" y="125581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4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1EB75A-C591-401F-AF89-9D380C47F2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2E873185-5DCF-C7B0-5989-F54C4737C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0558652" y="50766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33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B05317-17DF-487F-B85C-CEEFDC19C5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26263" y="3054609"/>
            <a:ext cx="7393184" cy="592952"/>
          </a:xfrm>
        </p:spPr>
        <p:txBody>
          <a:bodyPr anchor="b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algn="r"/>
            <a:r>
              <a:rPr lang="de-DE"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-Untertitelformat bearbeiten</a:t>
            </a:r>
            <a:endParaRPr lang="en-US" sz="2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7818980" y="6192987"/>
            <a:ext cx="3600469" cy="238811"/>
          </a:xfrm>
        </p:spPr>
        <p:txBody>
          <a:bodyPr anchor="ctr"/>
          <a:lstStyle>
            <a:lvl1pPr algn="r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5CE6D-5EF3-4419-9F4A-FABB73D91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8425" y="1591196"/>
            <a:ext cx="8167324" cy="1515981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E7E68122-26AB-2952-7F08-2A3C7A6628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4159"/>
          <a:stretch/>
        </p:blipFill>
        <p:spPr>
          <a:xfrm>
            <a:off x="10558652" y="50766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7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3336" y="187692"/>
            <a:ext cx="10799866" cy="78203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0069237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490467" y="1295401"/>
            <a:ext cx="11193569" cy="4991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54F63-F91E-4FB9-B337-0BF43F379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3"/>
            <a:ext cx="11193569" cy="455374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7F219C-959B-4E65-808A-E0F315709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7EEA2-1B99-4A35-8D12-1868D78F0B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b"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97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3375C0B6-51F5-4644-852C-D4408F558C71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id="{26ECE3BE-FA01-FA44-8A4D-A422F5F6054A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D2A5B07-B3EF-B044-AC38-067826BFF065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686292"/>
            <a:ext cx="4824123" cy="2852737"/>
          </a:xfrm>
        </p:spPr>
        <p:txBody>
          <a:bodyPr anchor="b">
            <a:normAutofit/>
          </a:bodyPr>
          <a:lstStyle>
            <a:lvl1pPr>
              <a:defRPr sz="36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589463"/>
            <a:ext cx="4492820" cy="1500187"/>
          </a:xfrm>
        </p:spPr>
        <p:txBody>
          <a:bodyPr lIns="27432"/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68215-1EA3-4546-AC03-C34B3AB5989B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76550-E523-9544-97FD-F93FBD1E6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4907" y="6356350"/>
            <a:ext cx="3582186" cy="365125"/>
          </a:xfrm>
        </p:spPr>
        <p:txBody>
          <a:bodyPr/>
          <a:lstStyle>
            <a:lvl1pPr algn="ctr">
              <a:defRPr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4AB8BD-99E5-6F4A-A7A6-C8FE77ADC6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49829" y="4348904"/>
            <a:ext cx="3165108" cy="21492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FB3D1BB3-7A61-A64E-9A27-A2B35D34007A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74743B5-B2B5-1643-B456-A2991DAEBB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59C87F7-1065-B74C-ACFD-F14A65DB4B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9291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1732750"/>
            <a:ext cx="522068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194649" y="1732750"/>
            <a:ext cx="522068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EB31E1-976E-4835-9275-D815FFEBA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C3F6E3-995F-4A21-BA25-15B00F0F6D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0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51" y="1138299"/>
            <a:ext cx="1080084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531049" y="3892752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011861" y="3892752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531049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011861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9AB890-57F5-4495-9B80-E68FC0BA0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3AFDC-348D-4BBC-B20E-07166AC9058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9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310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5E8203-1FB3-486B-83D7-3614934F1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A5A31-514C-4E11-BB0E-A0DF45B8D0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8AA-C9B9-4C7F-BF43-A144614F50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29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47847-CC8A-4D3B-BC3C-75D1E79220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 useBgFill="1"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36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457960"/>
            <a:ext cx="11074400" cy="466344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  <a:lvl5pPr marL="1218926" indent="-22854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075740C-AC93-44FF-B231-DAC8F765CC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2" y="6121399"/>
            <a:ext cx="8971403" cy="375196"/>
          </a:xfrm>
          <a:noFill/>
        </p:spPr>
        <p:txBody>
          <a:bodyPr wrap="square" lIns="0" tIns="0" bIns="0" rtlCol="0" anchor="b">
            <a:noAutofit/>
          </a:bodyPr>
          <a:lstStyle>
            <a:lvl1pPr marL="0" indent="0">
              <a:spcBef>
                <a:spcPts val="100"/>
              </a:spcBef>
              <a:buFontTx/>
              <a:buNone/>
              <a:defRPr lang="en-US" sz="933" dirty="0">
                <a:solidFill>
                  <a:schemeClr val="bg1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47038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88248" y="181939"/>
            <a:ext cx="11193569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BE46D8-10AA-4E6D-87AE-0429D1FE31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8246" y="6356354"/>
            <a:ext cx="11193569" cy="2615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8BD85A7-5F22-431C-8DD6-76F91EFC03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8245" y="1295406"/>
            <a:ext cx="11193571" cy="4991099"/>
          </a:xfrm>
        </p:spPr>
        <p:txBody>
          <a:bodyPr/>
          <a:lstStyle>
            <a:lvl1pPr marL="539892" indent="-269946">
              <a:defRPr/>
            </a:lvl1pPr>
            <a:lvl2pPr marL="380924" indent="-380924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816" indent="-380924"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784" indent="-269946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784" indent="-269946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69946" lvl="0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Mastertextformat bearbeiten</a:t>
            </a:r>
          </a:p>
          <a:p>
            <a:pPr marL="269946" lvl="1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269946" lvl="2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Dritte Ebene</a:t>
            </a:r>
          </a:p>
          <a:p>
            <a:pPr marL="269946" lvl="3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Vierte Ebene</a:t>
            </a:r>
          </a:p>
          <a:p>
            <a:pPr marL="269946" lvl="4" indent="-269946" algn="l" defTabSz="914218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6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1BB9-B5A7-4A4E-BCC8-1B2D01A08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F139DE-402E-4979-B6F1-51154AC2A2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lick to add foo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557831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4882152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CC20A954-010F-AA49-9AFF-0BA2B966F0F2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94B7C9F0-E087-8549-B68F-C4C8FCB7540D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48ECA4-FA5A-DC41-BEAC-1A2554ADD123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075ABD7-AC88-324D-81AC-6B45DDBB44C6}"/>
              </a:ext>
            </a:extLst>
          </p:cNvPr>
          <p:cNvSpPr/>
          <p:nvPr userDrawn="1"/>
        </p:nvSpPr>
        <p:spPr>
          <a:xfrm>
            <a:off x="0" y="1380221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BF1972-FC50-DE4D-AE22-907B3D2C4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38845"/>
            <a:ext cx="8930053" cy="2852737"/>
          </a:xfrm>
        </p:spPr>
        <p:txBody>
          <a:bodyPr anchor="b">
            <a:normAutofit/>
          </a:bodyPr>
          <a:lstStyle>
            <a:lvl1pPr>
              <a:defRPr sz="3600" b="1" i="0" u="none" cap="none" baseline="0">
                <a:solidFill>
                  <a:schemeClr val="tx1"/>
                </a:solidFill>
                <a:uFill>
                  <a:solidFill>
                    <a:schemeClr val="accent1"/>
                  </a:solidFill>
                </a:u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DB6AB-7FF3-7B43-AE11-D083736F81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227802"/>
            <a:ext cx="3994639" cy="1500187"/>
          </a:xfrm>
        </p:spPr>
        <p:txBody>
          <a:bodyPr lIns="27432">
            <a:normAutofit/>
          </a:bodyPr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64FE2-A2E9-EB40-B6D3-106D5067D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E513E5-06CF-744A-8DB1-7690EAF8A581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76550-E523-9544-97FD-F93FBD1E6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3519668" cy="365125"/>
          </a:xfrm>
        </p:spPr>
        <p:txBody>
          <a:bodyPr/>
          <a:lstStyle>
            <a:lvl1pPr>
              <a:defRPr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OR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BA57B-D34A-7848-BBFC-D523E2CD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C43809-A055-B74A-A1F8-7E7FC690F185}"/>
              </a:ext>
            </a:extLst>
          </p:cNvPr>
          <p:cNvCxnSpPr>
            <a:cxnSpLocks/>
          </p:cNvCxnSpPr>
          <p:nvPr userDrawn="1"/>
        </p:nvCxnSpPr>
        <p:spPr>
          <a:xfrm>
            <a:off x="485193" y="3032449"/>
            <a:ext cx="599982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9B8BD7F-7022-664C-BF5F-505F31CB56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1354" y="3753853"/>
            <a:ext cx="2540300" cy="172496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34313769-8D7C-6C4D-AF51-33D8D191E790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40C6905-2338-444D-A9F3-8B745C46B3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658469E-98E2-7143-BD5B-A35784490C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42527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5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17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4196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633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6589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891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285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179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595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642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663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ernat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78B45E58-B0F4-5E47-8F67-D17C2662770E}"/>
              </a:ext>
            </a:extLst>
          </p:cNvPr>
          <p:cNvGrpSpPr/>
          <p:nvPr userDrawn="1"/>
        </p:nvGrpSpPr>
        <p:grpSpPr>
          <a:xfrm>
            <a:off x="0" y="0"/>
            <a:ext cx="10113069" cy="6858000"/>
            <a:chOff x="20548" y="0"/>
            <a:chExt cx="10113069" cy="6858000"/>
          </a:xfrm>
        </p:grpSpPr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6CE1899E-BD87-3449-9C88-BE99D6EA4C97}"/>
                </a:ext>
              </a:extLst>
            </p:cNvPr>
            <p:cNvSpPr/>
            <p:nvPr userDrawn="1"/>
          </p:nvSpPr>
          <p:spPr>
            <a:xfrm>
              <a:off x="6679217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E1F52C2-F043-7D45-8779-3B2BD400235B}"/>
                </a:ext>
              </a:extLst>
            </p:cNvPr>
            <p:cNvSpPr/>
            <p:nvPr userDrawn="1"/>
          </p:nvSpPr>
          <p:spPr>
            <a:xfrm>
              <a:off x="20548" y="0"/>
              <a:ext cx="9774153" cy="6858000"/>
            </a:xfrm>
            <a:custGeom>
              <a:avLst/>
              <a:gdLst>
                <a:gd name="connsiteX0" fmla="*/ 0 w 9774153"/>
                <a:gd name="connsiteY0" fmla="*/ 0 h 6858000"/>
                <a:gd name="connsiteX1" fmla="*/ 175545 w 9774153"/>
                <a:gd name="connsiteY1" fmla="*/ 0 h 6858000"/>
                <a:gd name="connsiteX2" fmla="*/ 9598608 w 9774153"/>
                <a:gd name="connsiteY2" fmla="*/ 0 h 6858000"/>
                <a:gd name="connsiteX3" fmla="*/ 9774153 w 9774153"/>
                <a:gd name="connsiteY3" fmla="*/ 0 h 6858000"/>
                <a:gd name="connsiteX4" fmla="*/ 6679218 w 9774153"/>
                <a:gd name="connsiteY4" fmla="*/ 6858000 h 6858000"/>
                <a:gd name="connsiteX5" fmla="*/ 6503673 w 9774153"/>
                <a:gd name="connsiteY5" fmla="*/ 6858000 h 6858000"/>
                <a:gd name="connsiteX6" fmla="*/ 175545 w 9774153"/>
                <a:gd name="connsiteY6" fmla="*/ 6858000 h 6858000"/>
                <a:gd name="connsiteX7" fmla="*/ 0 w 9774153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74153" h="6858000">
                  <a:moveTo>
                    <a:pt x="0" y="0"/>
                  </a:moveTo>
                  <a:lnTo>
                    <a:pt x="175545" y="0"/>
                  </a:lnTo>
                  <a:lnTo>
                    <a:pt x="9598608" y="0"/>
                  </a:lnTo>
                  <a:lnTo>
                    <a:pt x="9774153" y="0"/>
                  </a:lnTo>
                  <a:lnTo>
                    <a:pt x="6679218" y="6858000"/>
                  </a:lnTo>
                  <a:lnTo>
                    <a:pt x="6503673" y="6858000"/>
                  </a:lnTo>
                  <a:lnTo>
                    <a:pt x="175545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ABFBFA5-5B77-6440-BD16-D378B6056988}"/>
              </a:ext>
            </a:extLst>
          </p:cNvPr>
          <p:cNvSpPr/>
          <p:nvPr userDrawn="1"/>
        </p:nvSpPr>
        <p:spPr>
          <a:xfrm>
            <a:off x="0" y="3509963"/>
            <a:ext cx="12192000" cy="334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8243182" cy="2387600"/>
          </a:xfrm>
        </p:spPr>
        <p:txBody>
          <a:bodyPr anchor="b"/>
          <a:lstStyle>
            <a:lvl1pPr algn="l">
              <a:defRPr sz="4000" baseline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8243182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02A96B-DA9D-C149-9E23-E0AF281C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0A55A-85AF-6545-BD76-D7C328BDD00F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914D26-55BA-8148-926C-D74E05FD6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856791-5DB4-F341-814C-82C3EEFCE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059E918-0022-944B-9297-9E561DBC09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38351" y="4341806"/>
            <a:ext cx="3190374" cy="216639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2CC578F8-558A-BB4D-806E-DDE2C49964FC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6000D75-49A0-E449-B6E5-1A76FF350E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7EFAEF2-A745-0E4B-9716-D433B3EF8B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39569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2114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54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ump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6EDE9CCF-D32F-AA4F-A6BA-FEAC7DA2297C}"/>
              </a:ext>
            </a:extLst>
          </p:cNvPr>
          <p:cNvGrpSpPr/>
          <p:nvPr userDrawn="1"/>
        </p:nvGrpSpPr>
        <p:grpSpPr>
          <a:xfrm>
            <a:off x="0" y="0"/>
            <a:ext cx="7812426" cy="6858000"/>
            <a:chOff x="29765" y="0"/>
            <a:chExt cx="7812426" cy="6858000"/>
          </a:xfrm>
        </p:grpSpPr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928C4630-B298-204A-AD43-222B4811DA97}"/>
                </a:ext>
              </a:extLst>
            </p:cNvPr>
            <p:cNvSpPr/>
            <p:nvPr userDrawn="1"/>
          </p:nvSpPr>
          <p:spPr>
            <a:xfrm>
              <a:off x="4387791" y="0"/>
              <a:ext cx="3454400" cy="6858000"/>
            </a:xfrm>
            <a:prstGeom prst="parallelogram">
              <a:avLst>
                <a:gd name="adj" fmla="val 8959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AC653CE-03F0-5A43-9D35-659009E07DE7}"/>
                </a:ext>
              </a:extLst>
            </p:cNvPr>
            <p:cNvSpPr/>
            <p:nvPr userDrawn="1"/>
          </p:nvSpPr>
          <p:spPr>
            <a:xfrm>
              <a:off x="29765" y="0"/>
              <a:ext cx="7495273" cy="6858000"/>
            </a:xfrm>
            <a:custGeom>
              <a:avLst/>
              <a:gdLst>
                <a:gd name="connsiteX0" fmla="*/ 0 w 7495273"/>
                <a:gd name="connsiteY0" fmla="*/ 0 h 6858000"/>
                <a:gd name="connsiteX1" fmla="*/ 7495273 w 7495273"/>
                <a:gd name="connsiteY1" fmla="*/ 0 h 6858000"/>
                <a:gd name="connsiteX2" fmla="*/ 4400338 w 7495273"/>
                <a:gd name="connsiteY2" fmla="*/ 6858000 h 6858000"/>
                <a:gd name="connsiteX3" fmla="*/ 0 w 7495273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5273" h="6858000">
                  <a:moveTo>
                    <a:pt x="0" y="0"/>
                  </a:moveTo>
                  <a:lnTo>
                    <a:pt x="7495273" y="0"/>
                  </a:lnTo>
                  <a:lnTo>
                    <a:pt x="4400338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F42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C82AC-9FB2-8D42-9E9A-1EC8648F1151}"/>
              </a:ext>
            </a:extLst>
          </p:cNvPr>
          <p:cNvSpPr/>
          <p:nvPr userDrawn="1"/>
        </p:nvSpPr>
        <p:spPr>
          <a:xfrm>
            <a:off x="0" y="1380221"/>
            <a:ext cx="12192000" cy="421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5B6C0-649B-F34D-9E2D-93A14AB7D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300" y="1122363"/>
            <a:ext cx="5627204" cy="2387600"/>
          </a:xfrm>
        </p:spPr>
        <p:txBody>
          <a:bodyPr anchor="b"/>
          <a:lstStyle>
            <a:lvl1pPr algn="l"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UMPER SLI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6DEC47-4B15-AF45-87E9-F97131FB15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602038"/>
            <a:ext cx="4529924" cy="1655762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400" u="none" baseline="0">
                <a:solidFill>
                  <a:schemeClr val="tx2"/>
                </a:solidFill>
                <a:uFill>
                  <a:solidFill>
                    <a:schemeClr val="accent1"/>
                  </a:solidFill>
                </a:u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4BD9C38-583A-254C-A1AE-F2952A4A8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9D4D713-D536-2047-A851-1E7DDB9F45CA}" type="datetime1">
              <a:rPr lang="en-US" smtClean="0"/>
              <a:pPr/>
              <a:t>10/23/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C17A973-3111-B646-BA04-00E41F5BE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04567E9-9CA0-FB4E-AD11-DE2319884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BCA78D6-6342-E346-B48F-A89B2AF0C6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1354" y="3753853"/>
            <a:ext cx="2540300" cy="172496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FB9693E7-8840-2943-AB86-606DD99E04D3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FB7BFE1-406F-0D4D-8C7B-417CF911E8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48C2347-AB8F-9D42-BC02-634607452E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7824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71A2E-1D04-F441-844E-0C2009443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825625"/>
            <a:ext cx="9483587" cy="4351338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3CBD74-E145-9A4B-AF40-81075C209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150E0-9EAA-5C40-BC48-0E092ADAF3D4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B81B8-FA8C-E943-9BDE-DCC7952C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 baseline="0"/>
            </a:lvl1pPr>
          </a:lstStyle>
          <a:p>
            <a:r>
              <a:rPr lang="en-US" dirty="0"/>
              <a:t>FOR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F16414-ED7A-D44A-AFDC-E4C657FC7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2EDBEE-768C-C240-92F5-019B7286C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3256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EA0F3-FE77-4342-9F85-A445BCEDC2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825625"/>
            <a:ext cx="52197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38F12A-92D9-C04F-948A-1A7BDED22B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67400" y="1825625"/>
            <a:ext cx="5181600" cy="3732337"/>
          </a:xfrm>
        </p:spPr>
        <p:txBody>
          <a:bodyPr/>
          <a:lstStyle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024075-CE92-864D-BB63-ECA21C4A4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3EBB7-D426-AB49-9ED9-FE9C62AE0A26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217306-C568-A74F-93D5-CB527C7F8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9A6D4-8217-9047-9309-6F3296601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A05A640-E2E9-7044-AC75-31DDB2AEB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56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B0AE6-C8D1-8C4D-8231-0D159F2258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421180"/>
            <a:ext cx="51206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E97601-30DB-7247-95EC-E5DC55D3E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0" y="2245092"/>
            <a:ext cx="5120612" cy="30290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F5C0D-5A5A-EA47-A641-D68AB69322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90537" y="1421180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CD8D6D-0E2A-B74B-86F4-9F1A92708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90537" y="2245092"/>
            <a:ext cx="5183188" cy="30290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9CE67B-5FB4-CC41-B8EC-B53F04C8B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3C15-FE86-914F-A8A3-B8749E98BC23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6E641E-FC2D-4447-B609-D59411A36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4B0B08-EBF0-8348-A7B2-017A950C0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0657FED-0BE6-2B46-93FB-E5A3B7DF8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838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FA904D-ED8C-AC41-84DE-8253AE32D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BDB17-5F77-B640-B829-6B26F62B9635}" type="datetime1">
              <a:rPr lang="en-US" smtClean="0"/>
              <a:t>10/2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E223AD-CE3D-734A-98DA-F7BD9700D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8BEBF-ADEB-9247-AC7D-F5F282502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FECD8-B8AF-5C4E-B306-A0438013ED66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EEF3D0-910B-0342-9BCF-2D0FEE484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1172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tif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F3D0C75-2109-0640-A7D2-A88EF70909F8}"/>
              </a:ext>
            </a:extLst>
          </p:cNvPr>
          <p:cNvSpPr/>
          <p:nvPr userDrawn="1"/>
        </p:nvSpPr>
        <p:spPr>
          <a:xfrm>
            <a:off x="9534106" y="-1"/>
            <a:ext cx="2657895" cy="1076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AAD0361F-9B2A-0648-9585-CAC83CDB472F}"/>
              </a:ext>
            </a:extLst>
          </p:cNvPr>
          <p:cNvSpPr/>
          <p:nvPr userDrawn="1"/>
        </p:nvSpPr>
        <p:spPr>
          <a:xfrm>
            <a:off x="9534106" y="-1"/>
            <a:ext cx="602527" cy="1076325"/>
          </a:xfrm>
          <a:custGeom>
            <a:avLst/>
            <a:gdLst>
              <a:gd name="connsiteX0" fmla="*/ 485733 w 602527"/>
              <a:gd name="connsiteY0" fmla="*/ 0 h 1076325"/>
              <a:gd name="connsiteX1" fmla="*/ 602527 w 602527"/>
              <a:gd name="connsiteY1" fmla="*/ 0 h 1076325"/>
              <a:gd name="connsiteX2" fmla="*/ 116794 w 602527"/>
              <a:gd name="connsiteY2" fmla="*/ 1076325 h 1076325"/>
              <a:gd name="connsiteX3" fmla="*/ 0 w 602527"/>
              <a:gd name="connsiteY3" fmla="*/ 1076325 h 1076325"/>
              <a:gd name="connsiteX4" fmla="*/ 485733 w 602527"/>
              <a:gd name="connsiteY4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527" h="1076325">
                <a:moveTo>
                  <a:pt x="485733" y="0"/>
                </a:moveTo>
                <a:lnTo>
                  <a:pt x="602527" y="0"/>
                </a:lnTo>
                <a:lnTo>
                  <a:pt x="116794" y="1076325"/>
                </a:lnTo>
                <a:lnTo>
                  <a:pt x="0" y="1076325"/>
                </a:lnTo>
                <a:lnTo>
                  <a:pt x="48573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017D0922-3950-7D4A-8176-545FB88FCDC9}"/>
              </a:ext>
            </a:extLst>
          </p:cNvPr>
          <p:cNvSpPr/>
          <p:nvPr userDrawn="1"/>
        </p:nvSpPr>
        <p:spPr>
          <a:xfrm>
            <a:off x="0" y="-1"/>
            <a:ext cx="10019838" cy="1076325"/>
          </a:xfrm>
          <a:custGeom>
            <a:avLst/>
            <a:gdLst>
              <a:gd name="connsiteX0" fmla="*/ 0 w 10019838"/>
              <a:gd name="connsiteY0" fmla="*/ 0 h 1076325"/>
              <a:gd name="connsiteX1" fmla="*/ 10019838 w 10019838"/>
              <a:gd name="connsiteY1" fmla="*/ 0 h 1076325"/>
              <a:gd name="connsiteX2" fmla="*/ 9534105 w 10019838"/>
              <a:gd name="connsiteY2" fmla="*/ 1076325 h 1076325"/>
              <a:gd name="connsiteX3" fmla="*/ 0 w 10019838"/>
              <a:gd name="connsiteY3" fmla="*/ 1076325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19838" h="1076325">
                <a:moveTo>
                  <a:pt x="0" y="0"/>
                </a:moveTo>
                <a:lnTo>
                  <a:pt x="10019838" y="0"/>
                </a:lnTo>
                <a:lnTo>
                  <a:pt x="9534105" y="1076325"/>
                </a:lnTo>
                <a:lnTo>
                  <a:pt x="0" y="1076325"/>
                </a:lnTo>
                <a:close/>
              </a:path>
            </a:pathLst>
          </a:custGeom>
          <a:solidFill>
            <a:srgbClr val="1F42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7EB126-FE29-544B-8613-510E0ADD436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95299" y="125128"/>
            <a:ext cx="10448193" cy="8908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EB39E-7124-9A44-BECF-D8CFC886AED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25462" y="1825625"/>
            <a:ext cx="10441475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61A5F-C324-9343-9A72-03C124D5E53E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00CC8-20D9-CA47-B460-D14CA09E1CFC}" type="datetime1">
              <a:rPr lang="en-US" smtClean="0"/>
              <a:pPr/>
              <a:t>10/2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2365B9-9D87-E647-B9DE-7603201AFBC7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R INTERNAL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DA642-3C68-9B4B-93B9-4339A70042C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966" y="6397451"/>
            <a:ext cx="394643" cy="324024"/>
          </a:xfrm>
          <a:prstGeom prst="rect">
            <a:avLst/>
          </a:prstGeom>
          <a:solidFill>
            <a:srgbClr val="1F4288">
              <a:alpha val="50196"/>
            </a:srgbClr>
          </a:solidFill>
        </p:spPr>
        <p:txBody>
          <a:bodyPr vert="horz" lIns="91440" tIns="45720" rIns="91440" bIns="45720" rtlCol="0" anchor="ctr"/>
          <a:lstStyle>
            <a:lvl1pPr algn="ctr">
              <a:defRPr sz="1100" b="1" i="0" baseline="0">
                <a:solidFill>
                  <a:schemeClr val="bg1"/>
                </a:solidFill>
              </a:defRPr>
            </a:lvl1pPr>
          </a:lstStyle>
          <a:p>
            <a:fld id="{C0AFECD8-B8AF-5C4E-B306-A0438013ED66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C429F6-DE49-844D-BC47-458C856E861D}"/>
              </a:ext>
            </a:extLst>
          </p:cNvPr>
          <p:cNvGrpSpPr/>
          <p:nvPr userDrawn="1"/>
        </p:nvGrpSpPr>
        <p:grpSpPr>
          <a:xfrm>
            <a:off x="10046824" y="231451"/>
            <a:ext cx="1930589" cy="549371"/>
            <a:chOff x="8736118" y="1637730"/>
            <a:chExt cx="2478142" cy="705184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6CCE957-14A5-C84A-B741-F50F0F16A8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10509076" y="1637730"/>
              <a:ext cx="705184" cy="70518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8D6C843-8510-444D-8351-263FB074E9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8736118" y="1728542"/>
              <a:ext cx="1397890" cy="5534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478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i="0" kern="1200" cap="all" baseline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Helvetica" pitchFamily="2" charset="0"/>
        <a:buChar char="―"/>
        <a:defRPr sz="18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1147">
          <p15:clr>
            <a:srgbClr val="F26B43"/>
          </p15:clr>
        </p15:guide>
        <p15:guide id="4" orient="horz" pos="400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408">
          <p15:clr>
            <a:srgbClr val="F26B43"/>
          </p15:clr>
        </p15:guide>
        <p15:guide id="7" pos="6178">
          <p15:clr>
            <a:srgbClr val="F26B43"/>
          </p15:clr>
        </p15:guide>
        <p15:guide id="8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1C49B4-753C-B641-9EB2-13A016D6A1DF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/>
          <a:stretch/>
        </p:blipFill>
        <p:spPr>
          <a:xfrm>
            <a:off x="0" y="0"/>
            <a:ext cx="12193587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2300" y="1295401"/>
            <a:ext cx="11193569" cy="4991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4840" y="181941"/>
            <a:ext cx="9654396" cy="7820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069237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DBAA3-EF1F-4E1D-A7A0-1323AF4D9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594" y="6476517"/>
            <a:ext cx="9556643" cy="3206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67280B11-E027-45CE-8135-75AA9DC34D0D}"/>
              </a:ext>
            </a:extLst>
          </p:cNvPr>
          <p:cNvSpPr/>
          <p:nvPr userDrawn="1"/>
        </p:nvSpPr>
        <p:spPr>
          <a:xfrm>
            <a:off x="1" y="5573486"/>
            <a:ext cx="6369699" cy="1284514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2" descr="Logo&#10;&#10;Description automatically generated">
            <a:extLst>
              <a:ext uri="{FF2B5EF4-FFF2-40B4-BE49-F238E27FC236}">
                <a16:creationId xmlns:a16="http://schemas.microsoft.com/office/drawing/2014/main" id="{EBB63EF4-1659-D8ED-B7C9-3BFC53263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r="34159"/>
          <a:stretch/>
        </p:blipFill>
        <p:spPr>
          <a:xfrm>
            <a:off x="8720745" y="113080"/>
            <a:ext cx="1544680" cy="91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23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09" rtl="0" eaLnBrk="1" latinLnBrk="0" hangingPunct="1">
        <a:spcBef>
          <a:spcPct val="0"/>
        </a:spcBef>
        <a:buNone/>
        <a:defRPr lang="en-US" sz="2400" b="1" kern="1200" cap="none" baseline="0" dirty="0">
          <a:solidFill>
            <a:schemeClr val="bg1"/>
          </a:solidFill>
          <a:latin typeface="+mn-lt"/>
          <a:ea typeface="+mn-ea"/>
          <a:cs typeface="Futura" panose="020B0602020204020303" pitchFamily="34" charset="-79"/>
        </a:defRPr>
      </a:lvl1pPr>
    </p:titleStyle>
    <p:bodyStyle>
      <a:lvl1pPr marL="0" indent="0" algn="l" defTabSz="914309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73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46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19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6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312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pos="5120">
          <p15:clr>
            <a:srgbClr val="F26B43"/>
          </p15:clr>
        </p15:guide>
        <p15:guide id="18" pos="399">
          <p15:clr>
            <a:srgbClr val="F26B43"/>
          </p15:clr>
        </p15:guide>
        <p15:guide id="19" pos="12955">
          <p15:clr>
            <a:srgbClr val="F26B43"/>
          </p15:clr>
        </p15:guide>
        <p15:guide id="20" pos="13036">
          <p15:clr>
            <a:srgbClr val="F26B43"/>
          </p15:clr>
        </p15:guide>
        <p15:guide id="21" pos="9844">
          <p15:clr>
            <a:srgbClr val="F26B43"/>
          </p15:clr>
        </p15:guide>
        <p15:guide id="22" orient="horz" pos="807">
          <p15:clr>
            <a:srgbClr val="F26B43"/>
          </p15:clr>
        </p15:guide>
        <p15:guide id="23" orient="horz" pos="2160">
          <p15:clr>
            <a:srgbClr val="F26B43"/>
          </p15:clr>
        </p15:guide>
        <p15:guide id="24" orient="horz" pos="41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4D992-CF52-4611-B45D-0EC950D0D631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9E73CC-E55D-494F-9A9F-5CD3573F4A6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31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hyperlink" Target="https://pubmed.ncbi.nlm.nih.gov/39426080/" TargetMode="Externa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wissmedicinfo.ch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hyperlink" Target="http://www.bayer.com/" TargetMode="Externa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95E12-1E45-68CA-6787-CFD11154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71E19-310D-9C3B-8978-5FCC20C6A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97" y="196276"/>
            <a:ext cx="10799866" cy="782031"/>
          </a:xfrm>
        </p:spPr>
        <p:txBody>
          <a:bodyPr>
            <a:normAutofit/>
          </a:bodyPr>
          <a:lstStyle/>
          <a:p>
            <a:r>
              <a:rPr lang="fr-FR" sz="2400" cap="none"/>
              <a:t>Interactions médicamenteuses des ARPI avec comédications cliniquement pertinentes</a:t>
            </a:r>
            <a:r>
              <a:rPr lang="de-CH" sz="2400" cap="none"/>
              <a:t>*</a:t>
            </a:r>
            <a:endParaRPr lang="de-CH" sz="2400" cap="none" baseline="30000" dirty="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5EBCFE21-5807-7602-479A-A6B62CD0BF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622196"/>
              </p:ext>
            </p:extLst>
          </p:nvPr>
        </p:nvGraphicFramePr>
        <p:xfrm>
          <a:off x="187412" y="1233147"/>
          <a:ext cx="5503652" cy="5480303"/>
        </p:xfrm>
        <a:graphic>
          <a:graphicData uri="http://schemas.openxmlformats.org/drawingml/2006/table">
            <a:tbl>
              <a:tblPr firstRow="1" bandRow="1"/>
              <a:tblGrid>
                <a:gridCol w="1598987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21332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599751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593136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612476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577970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Classe d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substances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ves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Princip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Interactions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T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ugolix</a:t>
                      </a:r>
                      <a:r>
                        <a:rPr lang="en-GB" sz="10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  <a:endParaRPr lang="en-GB" sz="10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615900"/>
                  </a:ext>
                </a:extLst>
              </a:tr>
              <a:tr h="288437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Anticoagulant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i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bigatr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Edo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varoxab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178053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Antiagrégants</a:t>
                      </a:r>
                    </a:p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plaquettaire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lopidogr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asugr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icagrelor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Bêtabloquant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soprolol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50511"/>
                  </a:ext>
                </a:extLst>
              </a:tr>
              <a:tr h="288437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Carv</a:t>
                      </a:r>
                      <a:r>
                        <a:rPr lang="de-CH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é</a:t>
                      </a:r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dil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Métoprol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596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Nébivolo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0684"/>
                  </a:ext>
                </a:extLst>
              </a:tr>
              <a:tr h="288437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u="none" strike="noStrike">
                          <a:solidFill>
                            <a:srgbClr val="000000"/>
                          </a:solidFill>
                          <a:effectLst/>
                        </a:rPr>
                        <a:t>Anti-infectieux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Ciprofloxac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71285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Clarithromyc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57338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Rifampic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990135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Fluconazol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52032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u="none" strike="noStrike">
                          <a:solidFill>
                            <a:srgbClr val="000000"/>
                          </a:solidFill>
                          <a:effectLst/>
                        </a:rPr>
                        <a:t>Voriconazol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392571"/>
                  </a:ext>
                </a:extLst>
              </a:tr>
            </a:tbl>
          </a:graphicData>
        </a:graphic>
      </p:graphicFrame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2EB61554-BACF-B96C-D45F-544913F1363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912555"/>
              </p:ext>
            </p:extLst>
          </p:nvPr>
        </p:nvGraphicFramePr>
        <p:xfrm>
          <a:off x="5996329" y="1233147"/>
          <a:ext cx="5934003" cy="4038118"/>
        </p:xfrm>
        <a:graphic>
          <a:graphicData uri="http://schemas.openxmlformats.org/drawingml/2006/table">
            <a:tbl>
              <a:tblPr firstRow="1" bandRow="1"/>
              <a:tblGrid>
                <a:gridCol w="1792066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27167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678741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612751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612751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710527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Classe d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substances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ves</a:t>
                      </a:r>
                      <a:endParaRPr lang="en-GB" sz="1100" b="0" u="none" strike="noStrike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Princip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Interactions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polipémiant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mfibrozil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torvastat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mvastatine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suvastat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17805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zetimi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ntiépileptiques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rbamazep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proat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-</a:t>
                      </a:r>
                    </a:p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épresseur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citalopram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uloxet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596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lafax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70684"/>
                  </a:ext>
                </a:extLst>
              </a:tr>
              <a:tr h="28843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nhibiteurs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fr-F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 la pompe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fr-F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à protons</a:t>
                      </a:r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ntoprazol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949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meprazole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787784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EC14AA3-1187-B516-A497-9608D1E36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27475" y="6176814"/>
            <a:ext cx="877113" cy="5218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616DB5-28BB-EF90-C34F-ED91EF64B6B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996329" y="5450516"/>
            <a:ext cx="4516703" cy="7988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ert – aucune restriction sur l’administration simultanée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Jaune – avec prudence, un ajustement de la posologie peut être nécessaire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ouge – Contre-indication / éviter / envisager de modifier le traitemen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de-DE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DT: traitement par suppression androgénique; ARPIs: Androgen Receptor Pathway Inhibitors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aro: Darolutamide; Abi: Abiratérone; Apa: Apalutamide; Enza: Enzalutamide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*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es tableaux suivants répertorient les médicaments les plus fréquemment observés chez les patients suivant un traitement pour le cancer de la prostate ; cette liste n'est pas exhaustive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our plus d’informations, veuillez consulter les informations professionnelles pertinentes sur le produit pharmaceutique.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444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95E12-1E45-68CA-6787-CFD11154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71E19-310D-9C3B-8978-5FCC20C6A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497" y="196276"/>
            <a:ext cx="10799866" cy="782031"/>
          </a:xfrm>
        </p:spPr>
        <p:txBody>
          <a:bodyPr>
            <a:normAutofit/>
          </a:bodyPr>
          <a:lstStyle/>
          <a:p>
            <a:r>
              <a:rPr lang="fr-FR" sz="2400" cap="none"/>
              <a:t>Interactions médicamenteuses des ARPI avec des comédications cliniquement pertinentes</a:t>
            </a:r>
            <a:r>
              <a:rPr lang="de-CH" sz="2400" cap="none"/>
              <a:t>*</a:t>
            </a:r>
            <a:endParaRPr lang="de-DE" sz="2400" cap="none" baseline="3000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5EBCFE21-5807-7602-479A-A6B62CD0BF8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7207182"/>
              </p:ext>
            </p:extLst>
          </p:nvPr>
        </p:nvGraphicFramePr>
        <p:xfrm>
          <a:off x="464543" y="1315947"/>
          <a:ext cx="5631456" cy="4326555"/>
        </p:xfrm>
        <a:graphic>
          <a:graphicData uri="http://schemas.openxmlformats.org/drawingml/2006/table">
            <a:tbl>
              <a:tblPr firstRow="1" bandRow="1"/>
              <a:tblGrid>
                <a:gridCol w="1636117">
                  <a:extLst>
                    <a:ext uri="{9D8B030D-6E8A-4147-A177-3AD203B41FA5}">
                      <a16:colId xmlns:a16="http://schemas.microsoft.com/office/drawing/2014/main" val="851948152"/>
                    </a:ext>
                  </a:extLst>
                </a:gridCol>
                <a:gridCol w="1556660">
                  <a:extLst>
                    <a:ext uri="{9D8B030D-6E8A-4147-A177-3AD203B41FA5}">
                      <a16:colId xmlns:a16="http://schemas.microsoft.com/office/drawing/2014/main" val="701096665"/>
                    </a:ext>
                  </a:extLst>
                </a:gridCol>
                <a:gridCol w="613678">
                  <a:extLst>
                    <a:ext uri="{9D8B030D-6E8A-4147-A177-3AD203B41FA5}">
                      <a16:colId xmlns:a16="http://schemas.microsoft.com/office/drawing/2014/main" val="939599150"/>
                    </a:ext>
                  </a:extLst>
                </a:gridCol>
                <a:gridCol w="631928">
                  <a:extLst>
                    <a:ext uri="{9D8B030D-6E8A-4147-A177-3AD203B41FA5}">
                      <a16:colId xmlns:a16="http://schemas.microsoft.com/office/drawing/2014/main" val="3884805216"/>
                    </a:ext>
                  </a:extLst>
                </a:gridCol>
                <a:gridCol w="592183">
                  <a:extLst>
                    <a:ext uri="{9D8B030D-6E8A-4147-A177-3AD203B41FA5}">
                      <a16:colId xmlns:a16="http://schemas.microsoft.com/office/drawing/2014/main" val="1779836527"/>
                    </a:ext>
                  </a:extLst>
                </a:gridCol>
                <a:gridCol w="600890">
                  <a:extLst>
                    <a:ext uri="{9D8B030D-6E8A-4147-A177-3AD203B41FA5}">
                      <a16:colId xmlns:a16="http://schemas.microsoft.com/office/drawing/2014/main" val="891477470"/>
                    </a:ext>
                  </a:extLst>
                </a:gridCol>
              </a:tblGrid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Classe d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substances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ves</a:t>
                      </a:r>
                      <a:endParaRPr lang="en-GB" sz="1100" b="0" u="none" strike="noStrike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Principe</a:t>
                      </a:r>
                    </a:p>
                    <a:p>
                      <a:pPr algn="ctr" fontAlgn="ctr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actif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>
                          <a:solidFill>
                            <a:schemeClr val="bg1"/>
                          </a:solidFill>
                          <a:effectLst/>
                        </a:rPr>
                        <a:t>Interactions</a:t>
                      </a:r>
                      <a:endParaRPr lang="en-GB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384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41304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RO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</a:t>
                      </a:r>
                      <a:r>
                        <a:rPr lang="en-GB" sz="6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1,6]</a:t>
                      </a:r>
                      <a:endParaRPr lang="en-GB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BI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2,6]</a:t>
                      </a:r>
                      <a:endParaRPr lang="en-GB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3,6]</a:t>
                      </a:r>
                      <a:endParaRPr lang="en-GB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ENZA </a:t>
                      </a:r>
                    </a:p>
                    <a:p>
                      <a:pPr algn="ctr" fontAlgn="b"/>
                      <a:r>
                        <a:rPr lang="en-GB" sz="600" b="0" u="none" strike="noStrike">
                          <a:solidFill>
                            <a:srgbClr val="000000"/>
                          </a:solidFill>
                          <a:effectLst/>
                        </a:rPr>
                        <a:t>[4,6]</a:t>
                      </a:r>
                      <a:endParaRPr lang="en-GB" sz="6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579545"/>
                  </a:ext>
                </a:extLst>
              </a:tr>
              <a:tr h="28843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pnotique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azépa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558112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dazola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8377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opiclone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14304"/>
                  </a:ext>
                </a:extLst>
              </a:tr>
              <a:tr h="288437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algésique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clofénac 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897905"/>
                  </a:ext>
                </a:extLst>
              </a:tr>
              <a:tr h="288437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éntanyl 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12638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phiu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97143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ycodone</a:t>
                      </a: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256825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madol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B05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5347"/>
                  </a:ext>
                </a:extLst>
              </a:tr>
              <a:tr h="2884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tussif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dé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50511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xtrométhorpha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8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Arial Unicode MS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15960"/>
                  </a:ext>
                </a:extLst>
              </a:tr>
              <a:tr h="2884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ihypertenseur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mlodipi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94327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drochlorothiazid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2838763"/>
                  </a:ext>
                </a:extLst>
              </a:tr>
              <a:tr h="288437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sarta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87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1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23215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2EAA4E-2DBB-B6FF-51FF-99D8E87E425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6546438" y="4092532"/>
            <a:ext cx="5375267" cy="1868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Vert – aucune restriction sur l’administration simultanée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Jaune – avec prudence, un ajustement de la posologie peut être nécessaire</a:t>
            </a: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ouge – Contre-indication / éviter / envisager de modifier le traitemen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T: traitement par suppression androgénique; ARPIs: Androgen Receptor Pathway Inhibitor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ro: Darolutamide;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i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Abiratérone;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a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Apalutamide;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za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Enzalutamid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s tableaux suivants contiennent les médicaments les plus fréquemment utilisés chez les patient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 suivent un traitement contre le cancer de la prostate ; cette liste n’est pas exhaustive. Pour de plus amples informations, veuillez consulter les informations professionnelles respective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 chacun des médicaments.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§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rci de bien vouloir noter que le lien suivant renvoie vers une page externe. Bayer (Schweiz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G n’a aucune influence sur la présentation et le contenu de ces pages externes et décline par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équent expressément toute responsabilité en ce qui concerne les contenus de sites tiers e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s éventuelles conséquences liées à leur utilisation.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C14AA3-1187-B516-A497-9608D1E36F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7475" y="6176814"/>
            <a:ext cx="877113" cy="521827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BCED3B4-A706-2180-7EB7-67CAC8FB8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34525"/>
              </p:ext>
            </p:extLst>
          </p:nvPr>
        </p:nvGraphicFramePr>
        <p:xfrm>
          <a:off x="6546438" y="1290320"/>
          <a:ext cx="3391192" cy="2306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391192">
                  <a:extLst>
                    <a:ext uri="{9D8B030D-6E8A-4147-A177-3AD203B41FA5}">
                      <a16:colId xmlns:a16="http://schemas.microsoft.com/office/drawing/2014/main" val="11718886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100" cap="all" baseline="0"/>
                        <a:t>Download Publication</a:t>
                      </a:r>
                      <a:r>
                        <a:rPr lang="de-CH" sz="1100" baseline="30000"/>
                        <a:t>§</a:t>
                      </a:r>
                      <a:endParaRPr lang="de-DE" sz="1100" baseline="30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7210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e résumé « Androgen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ceptor pathway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hibitors and drugdrug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teractions in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state cancer » publié</a:t>
                      </a:r>
                    </a:p>
                    <a:p>
                      <a:pPr algn="just"/>
                      <a:r>
                        <a:rPr lang="de-DE" sz="1100" b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r ESMO Open Review</a:t>
                      </a:r>
                      <a:r>
                        <a:rPr lang="de-DE" sz="1100" b="1" baseline="3000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§,6 </a:t>
                      </a:r>
                      <a:endParaRPr lang="de-DE" sz="1100" b="1" baseline="30000">
                        <a:solidFill>
                          <a:schemeClr val="tx1"/>
                        </a:solidFill>
                      </a:endParaRPr>
                    </a:p>
                    <a:p>
                      <a:pPr algn="just"/>
                      <a:r>
                        <a:rPr lang="fr-FR" sz="1100"/>
                        <a:t>fournit des informations complémentaires qui,</a:t>
                      </a:r>
                    </a:p>
                    <a:p>
                      <a:pPr algn="just"/>
                      <a:r>
                        <a:rPr lang="fr-FR" sz="1100"/>
                        <a:t>en plus de l’information professionnelle et de</a:t>
                      </a:r>
                    </a:p>
                    <a:p>
                      <a:pPr algn="just"/>
                      <a:r>
                        <a:rPr lang="fr-FR" sz="1100"/>
                        <a:t>la littérature spécialisée, aident à identifier</a:t>
                      </a:r>
                    </a:p>
                    <a:p>
                      <a:pPr algn="just"/>
                      <a:r>
                        <a:rPr lang="fr-FR" sz="1100"/>
                        <a:t>rapidement les interactions potentielles entre</a:t>
                      </a:r>
                    </a:p>
                    <a:p>
                      <a:pPr algn="just"/>
                      <a:r>
                        <a:rPr lang="fr-FR" sz="1100"/>
                        <a:t>les médicaments.</a:t>
                      </a:r>
                      <a:endParaRPr lang="de-DE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633679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8B575E6-DA11-771E-ADC9-4754C2876BD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89086" y="1759787"/>
            <a:ext cx="845390" cy="845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3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" y="-19846"/>
            <a:ext cx="12207240" cy="107899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D79B55B-EF59-2C9D-7B6D-84E89FDE2AAB}"/>
              </a:ext>
            </a:extLst>
          </p:cNvPr>
          <p:cNvSpPr txBox="1"/>
          <p:nvPr/>
        </p:nvSpPr>
        <p:spPr>
          <a:xfrm>
            <a:off x="456370" y="1206893"/>
            <a:ext cx="11279260" cy="4199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1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CH" sz="9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tion professionnelle abrégée NUBEQA</a:t>
            </a:r>
            <a:r>
              <a:rPr lang="fr-CH" sz="900" b="1" baseline="300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de-CH" sz="900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 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rolutamidum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 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UBEQA est indiqué en association avec un traitement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tiandrogénique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ADT) pour pat. ayant un cancer de la prostate métastatique hormono-sensible (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HSPC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 NUBEQA est indiqué en association avec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étaxel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t ADT chez adultes ayant un cancer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HSPC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ù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étaxel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st indiqué. NUBEQA est indiqué en association avec un ADT chez adultes ayant un cancer de la prostate résistant à la castration non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étasta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(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mCRPC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avec risque élevé de développer des métastases (en particulier PSA-DT ≤10 mois). 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so/Emploi : 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00 mg (2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p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00 mg) 2/j pdt repas (dose jour totale 1200 mg). Les pat. sous NUBEQA doivent recevoir simultanément un agoniste ou antagoniste de l’hormone de libération de la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utéinostimuline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LH-RH) ou avoir orchidectomie bilatérale. Lorsqu’utilisé avec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étaxel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1</a:t>
            </a:r>
            <a:r>
              <a:rPr lang="fr-CH" sz="900" baseline="300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6 cycles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étaxel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it commencer dans les 6 semaines après le début de NUBEQA. 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 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S PA ou exc. femmes enceintes ou pouvant tomber enceintes.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.E.G/</a:t>
            </a:r>
            <a:r>
              <a:rPr lang="fr-CH" sz="900" b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c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 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roubles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n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énale/hépatique : L’apparition EI doit être surveillée.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épatotox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Si atteinte hépatique idiosyncrasique méd, arrêt du NUBEQA définitivement. L’ADT peut allonger le QT : si FR ou si autres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d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llongeant le QT, surveillance ECG envisagée. Contraception hautement fiable : chez pat. sexuellement actifs. Densité os : Effet éventuel car suppression de la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o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ur le long terme /NUBEQA. ATCD de maladies CV (derniers 6M): La sécurité de NUBEQA n’a pas été établie, respecter les reco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érap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n vigueur. Dose à prendre pratiquement « sans sodium ». Ne pas utiliser si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o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éréditaire au galactose, déficit total en lactase et de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labs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luc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t du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lac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M :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hib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BCRP et OATP 1B1/1B3 ; si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adm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respecter reco de l’IP.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uc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aible CYP3A4. Substrat du CYP3A4, P-gp et BCRP. Eviter les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uc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uissants CYP3A4 et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uc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-gp pendant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t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NUBEQA.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I : 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BEQA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ès fréquents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min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br de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utroph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élévation AST/ALT,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lév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ilirubine, fatigue. 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équents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diopath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schémique, IC,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rup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douleurs extrémités, fractures. 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BEQA + </a:t>
            </a:r>
            <a:r>
              <a:rPr lang="fr-CH" sz="900" i="1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étaxel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ès fréquents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CH" sz="900" i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TA dont urgence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ypertens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ccas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élévation AST/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,bilirubine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éruption </a:t>
            </a:r>
            <a:r>
              <a:rPr lang="fr-CH" sz="900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t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fr-CH" sz="900" b="1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ulaire :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. Bayer (Schweiz) AG, 8045 Zurich. Infos détaillées sur </a:t>
            </a:r>
            <a:r>
              <a:rPr lang="fr-CH" sz="900" u="sng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wissmedicinfo.ch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de-CH" sz="9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CH" sz="900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P-M_DAR-CH-0108-3   07/2025</a:t>
            </a:r>
            <a:endParaRPr lang="de-CH" sz="900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None/>
            </a:pPr>
            <a:endParaRPr lang="de-CH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férences</a:t>
            </a: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tion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nell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iss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Nubeqa (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rolutamid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tion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nell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iss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Zytiga (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birateron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tion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nell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iss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‘Erleada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Apalutamide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tion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nell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isse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Xtandi (Enzalutamide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tion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essionnelle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isse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‘Orgovyx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ugolix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: www.swissmedicinfo.ch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olek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, et al. Androgen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eptor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hway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hibitors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ug-drug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actions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tate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cer</a:t>
            </a:r>
            <a:r>
              <a:rPr kumimoji="0" lang="de-DE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ESMO Open 2024;9(11):103736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de-DE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publications et données référencées sont disponibles sur demande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6DF91-1014-714A-F980-ECD698A5F4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1899" y="6074417"/>
            <a:ext cx="986295" cy="586783"/>
          </a:xfrm>
          <a:prstGeom prst="rect">
            <a:avLst/>
          </a:prstGeom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611B5B65-475C-2E72-1509-2AA122FD38C0}"/>
              </a:ext>
            </a:extLst>
          </p:cNvPr>
          <p:cNvSpPr txBox="1"/>
          <p:nvPr/>
        </p:nvSpPr>
        <p:spPr>
          <a:xfrm>
            <a:off x="456370" y="6322646"/>
            <a:ext cx="3921289" cy="33855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yer (Schweiz) AG 8045 Zürich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5"/>
              </a:rPr>
              <a:t>www.bayer.com</a:t>
            </a:r>
            <a:b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P-NUB-CH-0281-4_10.2025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466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/////wUA8gs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CZiQskB2hHtmFdpJs4JEYEAAAAAAADAAAAAAADAAAAAwADAAAAAAADAAAAAwADAAMA////////BQAAAAMAEAALmLiQDFHgxUCESaj2H82ISAQAAAABAAMAAAACAAMAAAAEAAMAAAACAP///////wMAAAAAAP///////wQAAQD///////8FAAAABAAQAAucpGDLw/cIRrPlW2YvXrm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EJmJCyQHaEe2YV2kmzgkRgNEYXRhAFMAAAAIUHJlc2VudGF0aW9uU2Nhbm5lZEZvckxpbmtlZFNoYXBlcwAAAk51bWJlckZvcm1hdFNlcGFyYXRvck1vZGUACgAAAEF1dG9tYXRpYwAAAk5hbWUAJAAAAExpbmtlZFNoYXBlUHJlc2VudGF0aW9uU2V0dGluZ3NEYXRhABBWZXJzaW9uAAAAAAAJTGFzdFdyaXRlAOmxST+XAQAAAAEA/////4MAgwAAAAVfaWQAEAAAAASYuJAMUeDFQIRJqPYfzYhIA0RhdGEAGwAAAARMaW5rZWRTaGFwZURhdGEABQAAAAAAAk5hbWUAGQAAAExpbmtlZFNoYXBlc0RhdGFQcm9wZXJ0eQAQVmVyc2lvbgABAAAACUxhc3RXcml0ZQDmsUk/lwEAAAACAP////+DAIMAAAAFX2lkABAAAAAEnKRgy8P3CEaz5VtmL165mANEYXRhABsAAAAETGlua2VkU2hhcGVEYXRhAAUAAAAAAAJOYW1lABkAAABMaW5rZWRTaGFwZXNEYXRhUHJvcGVydHkAEFZlcnNpb24AAAAAAAlMYXN0V3JpdGUAtrFJP5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EAAMAAQEDAAAAAwD///////8aAAZMaW5rZWRTaGFwZXNEYXRhUHJvcGVydHlfMQQAAAABAAUAAAAEAAUAAAABAAQAAgEDAAAABAD///////8aAAZMaW5rZWRTaGFwZXNEYXRhUHJvcGVydHlfMAQAAAACAAUAAAACAAUAAAAD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47102839057124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oe7MSGDG1Gm/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oe7MSGDG1Gm/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6711540"/>
  <p:tag name="EMPOWERCHARTSPROPERTIES_A_LENGTH" val="24576"/>
  <p:tag name="RUNTIME_ID" val="041b1f2a-3214-4856-afdf-c27fcd77961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+K2racZ8BJKosmdug4VRs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K2racZ8BJKosmdug4VRscDRGF0YQAWAAAAAlBlcnNvbmFsSWQAAQAAAAAAAk5hbWUACwAAAFBlcnNvbmFsSWQAEFZlcnNpb24AAAAAAAlMYXN0V3JpdGUA8z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7547515"/>
  <p:tag name="EMPOWERCHARTSPROPERTIES_A_LENGTH" val="24576"/>
  <p:tag name="RUNTIME_ID" val="893acfb1-ea06-4047-b328-6c65dceee0c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8222570"/>
  <p:tag name="EMPOWERCHARTSPROPERTIES_A_LENGTH" val="24576"/>
  <p:tag name="RUNTIME_ID" val="f41a8dce-322b-41e8-982e-72bde7af1ea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oe7MSGDG1Gm/82ErcOP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oe7MSGDG1Gm/82ErcOPBoDRGF0YQAWAAAAAlBlcnNvbmFsSWQAAQAAAAAAAk5hbWUACwAAAFBlcnNvbmFsSWQAEFZlcnNpb24AAAAAAAlMYXN0V3JpdGUAtDg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6711540"/>
  <p:tag name="EMPOWERCHARTSPROPERTIES_A_LENGTH" val="24576"/>
  <p:tag name="RUNTIME_ID" val="041b1f2a-3214-4856-afdf-c27fcd77961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PjtZxMYpFJuS9PupAdM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PjtZxMYpFJuS9PupAdMJkDRGF0YQAWAAAAAlBlcnNvbmFsSWQAAQAAAAAAAk5hbWUACwAAAFBlcnNvbmFsSWQAEFZlcnNpb24AAAAAAAlMYXN0V3JpdGUAODkBr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9298768222570"/>
  <p:tag name="EMPOWERCHARTSPROPERTIES_A_LENGTH" val="24576"/>
  <p:tag name="RUNTIME_ID" val="f41a8dce-322b-41e8-982e-72bde7af1ea9"/>
</p:tagLst>
</file>

<file path=ppt/theme/theme1.xml><?xml version="1.0" encoding="utf-8"?>
<a:theme xmlns:a="http://schemas.openxmlformats.org/drawingml/2006/main" name="2_Office Theme">
  <a:themeElements>
    <a:clrScheme name="Custom 11">
      <a:dk1>
        <a:srgbClr val="223C78"/>
      </a:dk1>
      <a:lt1>
        <a:srgbClr val="FFFFFF"/>
      </a:lt1>
      <a:dk2>
        <a:srgbClr val="939598"/>
      </a:dk2>
      <a:lt2>
        <a:srgbClr val="F3FAFF"/>
      </a:lt2>
      <a:accent1>
        <a:srgbClr val="F16623"/>
      </a:accent1>
      <a:accent2>
        <a:srgbClr val="009EDB"/>
      </a:accent2>
      <a:accent3>
        <a:srgbClr val="B8D6A2"/>
      </a:accent3>
      <a:accent4>
        <a:srgbClr val="223C78"/>
      </a:accent4>
      <a:accent5>
        <a:srgbClr val="404140"/>
      </a:accent5>
      <a:accent6>
        <a:srgbClr val="77787B"/>
      </a:accent6>
      <a:hlink>
        <a:srgbClr val="F16623"/>
      </a:hlink>
      <a:folHlink>
        <a:srgbClr val="77787B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aro Medical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Custom 1">
      <a:majorFont>
        <a:latin typeface="Arial Black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aro Medical" id="{612EBEA5-4CE3-4B31-AD54-AB62E17DE0B5}" vid="{94C32C4C-3669-4D00-B7BC-5BC719A8DD18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7bc43322-b630-4bac-8b27-31def233d1d0" ContentTypeId="0x01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D9AC528DE4949B3343CF8BF8821ED" ma:contentTypeVersion="21" ma:contentTypeDescription="Create a new document." ma:contentTypeScope="" ma:versionID="d2ffc49d7a4e349961baf82def277493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52c41914-47fd-4263-9e1b-d8877e82f575" xmlns:ns4="4a27762e-ff82-4243-8a52-87712e03ee5d" targetNamespace="http://schemas.microsoft.com/office/2006/metadata/properties" ma:root="true" ma:fieldsID="2f50b562a89878c738a9e0ae9ac20fa2" ns1:_="" ns2:_="" ns3:_="" ns4:_="">
    <xsd:import namespace="http://schemas.microsoft.com/sharepoint/v3"/>
    <xsd:import namespace="1a4d292e-883c-434b-96e3-060cfff16c86"/>
    <xsd:import namespace="52c41914-47fd-4263-9e1b-d8877e82f575"/>
    <xsd:import namespace="4a27762e-ff82-4243-8a52-87712e03ee5d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Location" minOccurs="0"/>
                <xsd:element ref="ns3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2540e3d9-f28b-4f86-8a38-24a54adb6f34}" ma:internalName="TaxCatchAll" ma:showField="CatchAllData" ma:web="4a27762e-ff82-4243-8a52-87712e03e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2540e3d9-f28b-4f86-8a38-24a54adb6f34}" ma:internalName="TaxCatchAllLabel" ma:readOnly="true" ma:showField="CatchAllDataLabel" ma:web="4a27762e-ff82-4243-8a52-87712e03e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c41914-47fd-4263-9e1b-d8877e82f5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6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27762e-ff82-4243-8a52-87712e03ee5d" elementFormDefault="qualified">
    <xsd:import namespace="http://schemas.microsoft.com/office/2006/documentManagement/types"/>
    <xsd:import namespace="http://schemas.microsoft.com/office/infopath/2007/PartnerControls"/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lcf76f155ced4ddcb4097134ff3c332f xmlns="52c41914-47fd-4263-9e1b-d8877e82f575">
      <Terms xmlns="http://schemas.microsoft.com/office/infopath/2007/PartnerControls"/>
    </lcf76f155ced4ddcb4097134ff3c332f>
    <_dlc_ExpireDate xmlns="http://schemas.microsoft.com/sharepoint/v3" xsi:nil="true"/>
    <_dlc_Exempt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9C90743-9E0D-4AA8-AEA4-B1E8EFF4A143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7A399330-1F5F-4DA0-B791-1CBC21EF3C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4FAAFC-0446-49CC-B156-DE25C63AA2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52c41914-47fd-4263-9e1b-d8877e82f575"/>
    <ds:schemaRef ds:uri="4a27762e-ff82-4243-8a52-87712e03ee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CCCA45F-E571-48C2-B6C0-2E00AC6DE695}">
  <ds:schemaRefs>
    <ds:schemaRef ds:uri="http://purl.org/dc/elements/1.1/"/>
    <ds:schemaRef ds:uri="1a4d292e-883c-434b-96e3-060cfff16c86"/>
    <ds:schemaRef ds:uri="52c41914-47fd-4263-9e1b-d8877e82f575"/>
    <ds:schemaRef ds:uri="http://www.w3.org/XML/1998/namespace"/>
    <ds:schemaRef ds:uri="http://schemas.microsoft.com/sharepoint/v3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4a27762e-ff82-4243-8a52-87712e03ee5d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72</Words>
  <Application>Microsoft Office PowerPoint</Application>
  <PresentationFormat>Breitbild</PresentationFormat>
  <Paragraphs>287</Paragraphs>
  <Slides>3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Aptos</vt:lpstr>
      <vt:lpstr>Arial</vt:lpstr>
      <vt:lpstr>Calibri</vt:lpstr>
      <vt:lpstr>Calibri Light</vt:lpstr>
      <vt:lpstr>Courier New</vt:lpstr>
      <vt:lpstr>Helvetica</vt:lpstr>
      <vt:lpstr>2_Office Theme</vt:lpstr>
      <vt:lpstr>Daro Medical</vt:lpstr>
      <vt:lpstr>3_Office Theme</vt:lpstr>
      <vt:lpstr>Interactions médicamenteuses des ARPI avec comédications cliniquement pertinentes*</vt:lpstr>
      <vt:lpstr>Interactions médicamenteuses des ARPI avec des comédications cliniquement pertinentes*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na Lien</dc:creator>
  <cp:lastModifiedBy>Brianna Lien</cp:lastModifiedBy>
  <cp:revision>1</cp:revision>
  <dcterms:created xsi:type="dcterms:W3CDTF">2024-04-23T08:28:19Z</dcterms:created>
  <dcterms:modified xsi:type="dcterms:W3CDTF">2025-10-23T11:3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RESTRICTED</vt:lpwstr>
  </property>
  <property fmtid="{D5CDD505-2E9C-101B-9397-08002B2CF9AE}" pid="4" name="ContentTypeId">
    <vt:lpwstr>0x0101002EBD9AC528DE4949B3343CF8BF8821ED</vt:lpwstr>
  </property>
  <property fmtid="{D5CDD505-2E9C-101B-9397-08002B2CF9AE}" pid="5" name="MediaServiceImageTags">
    <vt:lpwstr/>
  </property>
  <property fmtid="{D5CDD505-2E9C-101B-9397-08002B2CF9AE}" pid="6" name="MSIP_Label_7f850223-87a8-40c3-9eb2-432606efca2a_Enabled">
    <vt:lpwstr>true</vt:lpwstr>
  </property>
  <property fmtid="{D5CDD505-2E9C-101B-9397-08002B2CF9AE}" pid="7" name="MSIP_Label_7f850223-87a8-40c3-9eb2-432606efca2a_SetDate">
    <vt:lpwstr>2024-05-02T14:45:52Z</vt:lpwstr>
  </property>
  <property fmtid="{D5CDD505-2E9C-101B-9397-08002B2CF9AE}" pid="8" name="MSIP_Label_7f850223-87a8-40c3-9eb2-432606efca2a_Method">
    <vt:lpwstr>Privileged</vt:lpwstr>
  </property>
  <property fmtid="{D5CDD505-2E9C-101B-9397-08002B2CF9AE}" pid="9" name="MSIP_Label_7f850223-87a8-40c3-9eb2-432606efca2a_Name">
    <vt:lpwstr>7f850223-87a8-40c3-9eb2-432606efca2a</vt:lpwstr>
  </property>
  <property fmtid="{D5CDD505-2E9C-101B-9397-08002B2CF9AE}" pid="10" name="MSIP_Label_7f850223-87a8-40c3-9eb2-432606efca2a_SiteId">
    <vt:lpwstr>fcb2b37b-5da0-466b-9b83-0014b67a7c78</vt:lpwstr>
  </property>
  <property fmtid="{D5CDD505-2E9C-101B-9397-08002B2CF9AE}" pid="11" name="MSIP_Label_7f850223-87a8-40c3-9eb2-432606efca2a_ActionId">
    <vt:lpwstr>f8596c71-3fb9-4bf2-abca-a52d8a0d20a0</vt:lpwstr>
  </property>
  <property fmtid="{D5CDD505-2E9C-101B-9397-08002B2CF9AE}" pid="12" name="MSIP_Label_7f850223-87a8-40c3-9eb2-432606efca2a_ContentBits">
    <vt:lpwstr>0</vt:lpwstr>
  </property>
</Properties>
</file>